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5192" r:id="rId1"/>
  </p:sldMasterIdLst>
  <p:notesMasterIdLst>
    <p:notesMasterId r:id="rId9"/>
  </p:notesMasterIdLst>
  <p:handoutMasterIdLst>
    <p:handoutMasterId r:id="rId10"/>
  </p:handoutMasterIdLst>
  <p:sldIdLst>
    <p:sldId id="9673" r:id="rId2"/>
    <p:sldId id="9678" r:id="rId3"/>
    <p:sldId id="9683" r:id="rId4"/>
    <p:sldId id="9684" r:id="rId5"/>
    <p:sldId id="9681" r:id="rId6"/>
    <p:sldId id="9682" r:id="rId7"/>
    <p:sldId id="9685" r:id="rId8"/>
  </p:sldIdLst>
  <p:sldSz cx="9144000" cy="5143500" type="screen16x9"/>
  <p:notesSz cx="9928225" cy="6797675"/>
  <p:defaultTextStyle>
    <a:defPPr>
      <a:defRPr lang="ru-RU"/>
    </a:defPPr>
    <a:lvl1pPr algn="l" defTabSz="69043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344424" indent="112692" algn="l" defTabSz="69043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690433" indent="-3174" algn="l" defTabSz="69043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034855" indent="-4762" algn="l" defTabSz="69043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380865" indent="-6349" algn="l" defTabSz="69043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5570" algn="l" defTabSz="914229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2685" algn="l" defTabSz="914229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199798" algn="l" defTabSz="914229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6913" algn="l" defTabSz="914229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597" userDrawn="1">
          <p15:clr>
            <a:srgbClr val="A4A3A4"/>
          </p15:clr>
        </p15:guide>
        <p15:guide id="2" pos="290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sar Kapyatov" initials="AK" lastIdx="1" clrIdx="0">
    <p:extLst>
      <p:ext uri="{19B8F6BF-5375-455C-9EA6-DF929625EA0E}">
        <p15:presenceInfo xmlns:p15="http://schemas.microsoft.com/office/powerpoint/2012/main" userId="7be34a0b6fa8556b" providerId="Windows Live"/>
      </p:ext>
    </p:extLst>
  </p:cmAuthor>
  <p:cmAuthor id="2" name="Дастан Умирбаев" initials="ДУ" lastIdx="1" clrIdx="1">
    <p:extLst>
      <p:ext uri="{19B8F6BF-5375-455C-9EA6-DF929625EA0E}">
        <p15:presenceInfo xmlns:p15="http://schemas.microsoft.com/office/powerpoint/2012/main" userId="S-1-5-21-284302003-2453383197-3833240302-282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2060"/>
    <a:srgbClr val="0070C0"/>
    <a:srgbClr val="41719C"/>
    <a:srgbClr val="FBDD76"/>
    <a:srgbClr val="BFBFBF"/>
    <a:srgbClr val="2E75B6"/>
    <a:srgbClr val="7F7F7F"/>
    <a:srgbClr val="595F67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64" autoAdjust="0"/>
    <p:restoredTop sz="96404" autoAdjust="0"/>
  </p:normalViewPr>
  <p:slideViewPr>
    <p:cSldViewPr snapToGrid="0">
      <p:cViewPr varScale="1">
        <p:scale>
          <a:sx n="148" d="100"/>
          <a:sy n="148" d="100"/>
        </p:scale>
        <p:origin x="666" y="108"/>
      </p:cViewPr>
      <p:guideLst>
        <p:guide orient="horz" pos="1597"/>
        <p:guide pos="2903"/>
      </p:guideLst>
    </p:cSldViewPr>
  </p:slideViewPr>
  <p:outlineViewPr>
    <p:cViewPr>
      <p:scale>
        <a:sx n="100" d="100"/>
        <a:sy n="100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202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ADFC8963-2523-4E22-B3EE-278C2D79AE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3234" cy="340861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E53BB5F1-5564-408D-AF85-DB8A71E785C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731" y="1"/>
            <a:ext cx="4303233" cy="340861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r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5FC51AD-3A42-4308-AE02-C4769D5FDC58}" type="datetimeFigureOut">
              <a:rPr lang="ru-RU" smtClean="0"/>
              <a:pPr>
                <a:defRPr/>
              </a:pPr>
              <a:t>06.09.2022</a:t>
            </a:fld>
            <a:endParaRPr lang="ru-RU" dirty="0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77D5B113-E6A1-4D45-8578-CCBE143AB89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6456827"/>
            <a:ext cx="4303234" cy="340861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390484A-0F79-4591-8297-BED10FBB77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731" y="6456827"/>
            <a:ext cx="4303233" cy="340861"/>
          </a:xfrm>
          <a:prstGeom prst="rect">
            <a:avLst/>
          </a:prstGeom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7784">
              <a:defRPr sz="1200"/>
            </a:lvl1pPr>
          </a:lstStyle>
          <a:p>
            <a:fld id="{4DE45DD4-AB7F-4AB0-A750-CE638BB6A441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73823837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78572ECC-BD59-43A3-BE3D-CCCF92563A8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1"/>
            <a:ext cx="4303234" cy="340861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7BA5FEE-702A-431C-AA57-6EE660B48AC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22731" y="1"/>
            <a:ext cx="4303233" cy="340861"/>
          </a:xfrm>
          <a:prstGeom prst="rect">
            <a:avLst/>
          </a:prstGeom>
        </p:spPr>
        <p:txBody>
          <a:bodyPr vert="horz" lIns="91710" tIns="45855" rIns="91710" bIns="45855" rtlCol="0"/>
          <a:lstStyle>
            <a:lvl1pPr algn="r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3B1E05B-98FE-4E4C-803B-B55B2E198AC7}" type="datetimeFigureOut">
              <a:rPr lang="ru-RU" smtClean="0"/>
              <a:pPr>
                <a:defRPr/>
              </a:pPr>
              <a:t>06.09.2022</a:t>
            </a:fld>
            <a:endParaRPr lang="ru-RU" dirty="0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CCB2F0AD-F5D5-4C86-ACF0-E021E5796499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927350" y="849313"/>
            <a:ext cx="4073525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0" tIns="45855" rIns="91710" bIns="45855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592FAAD7-7B62-4026-8F44-12A0F4C86D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93055" y="3270756"/>
            <a:ext cx="7942116" cy="2678036"/>
          </a:xfrm>
          <a:prstGeom prst="rect">
            <a:avLst/>
          </a:prstGeom>
        </p:spPr>
        <p:txBody>
          <a:bodyPr vert="horz" lIns="91710" tIns="45855" rIns="91710" bIns="45855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7229559-B7D3-4691-B820-0277326DCAE1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2" y="6456827"/>
            <a:ext cx="4303234" cy="340861"/>
          </a:xfrm>
          <a:prstGeom prst="rect">
            <a:avLst/>
          </a:prstGeom>
        </p:spPr>
        <p:txBody>
          <a:bodyPr vert="horz" lIns="91710" tIns="45855" rIns="91710" bIns="45855" rtlCol="0" anchor="b"/>
          <a:lstStyle>
            <a:lvl1pPr algn="l" defTabSz="919273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30483DBB-AADD-48AE-8641-2F93B5BC013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622731" y="6456827"/>
            <a:ext cx="4303233" cy="340861"/>
          </a:xfrm>
          <a:prstGeom prst="rect">
            <a:avLst/>
          </a:prstGeom>
        </p:spPr>
        <p:txBody>
          <a:bodyPr vert="horz" wrap="square" lIns="91710" tIns="45855" rIns="91710" bIns="45855" numCol="1" anchor="b" anchorCtr="0" compatLnSpc="1">
            <a:prstTxWarp prst="textNoShape">
              <a:avLst/>
            </a:prstTxWarp>
          </a:bodyPr>
          <a:lstStyle>
            <a:lvl1pPr algn="r" defTabSz="917784">
              <a:defRPr sz="1200"/>
            </a:lvl1pPr>
          </a:lstStyle>
          <a:p>
            <a:fld id="{6B3E2739-4C72-4271-8277-AC94C9F4E968}" type="slidenum">
              <a:rPr lang="ru-RU" altLang="ru-RU"/>
              <a:pPr/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835478982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69043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4424" algn="l" defTabSz="69043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90433" algn="l" defTabSz="69043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34855" algn="l" defTabSz="69043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80865" algn="l" defTabSz="69043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27855" algn="l" defTabSz="69114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73426" algn="l" defTabSz="69114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18995" algn="l" defTabSz="69114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64566" algn="l" defTabSz="69114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Slide Image Placeholder 1">
            <a:extLst>
              <a:ext uri="{FF2B5EF4-FFF2-40B4-BE49-F238E27FC236}">
                <a16:creationId xmlns:a16="http://schemas.microsoft.com/office/drawing/2014/main" id="{599A348A-4250-4752-8FC6-D12EE8C28567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Notes Placeholder 2">
            <a:extLst>
              <a:ext uri="{FF2B5EF4-FFF2-40B4-BE49-F238E27FC236}">
                <a16:creationId xmlns:a16="http://schemas.microsoft.com/office/drawing/2014/main" id="{B7BB8CCB-159E-4B17-B847-D8381E073FC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ru-RU" dirty="0"/>
              <a:t>Insert picture/ Right Click/Send to back</a:t>
            </a:r>
          </a:p>
          <a:p>
            <a:pPr eaLnBrk="1" hangingPunct="1">
              <a:spcBef>
                <a:spcPct val="0"/>
              </a:spcBef>
            </a:pPr>
            <a:endParaRPr lang="en-US" altLang="ru-RU" dirty="0"/>
          </a:p>
        </p:txBody>
      </p:sp>
    </p:spTree>
    <p:extLst>
      <p:ext uri="{BB962C8B-B14F-4D97-AF65-F5344CB8AC3E}">
        <p14:creationId xmlns:p14="http://schemas.microsoft.com/office/powerpoint/2010/main" val="3084563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2">
            <a:extLst>
              <a:ext uri="{FF2B5EF4-FFF2-40B4-BE49-F238E27FC236}">
                <a16:creationId xmlns:a16="http://schemas.microsoft.com/office/drawing/2014/main" id="{20D62EEF-71F8-4F55-8521-893C5C7B6645}"/>
              </a:ext>
            </a:extLst>
          </p:cNvPr>
          <p:cNvCxnSpPr>
            <a:cxnSpLocks/>
          </p:cNvCxnSpPr>
          <p:nvPr userDrawn="1"/>
        </p:nvCxnSpPr>
        <p:spPr>
          <a:xfrm>
            <a:off x="502888" y="667569"/>
            <a:ext cx="8133793" cy="0"/>
          </a:xfrm>
          <a:prstGeom prst="line">
            <a:avLst/>
          </a:prstGeom>
          <a:ln w="635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C5DBA184-2616-4FD7-B3C8-B2B7CCC53D5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07774" y="262684"/>
            <a:ext cx="8131168" cy="316474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spcAft>
                <a:spcPts val="204"/>
              </a:spcAft>
              <a:buFontTx/>
              <a:buNone/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 116">
            <a:extLst>
              <a:ext uri="{FF2B5EF4-FFF2-40B4-BE49-F238E27FC236}">
                <a16:creationId xmlns:a16="http://schemas.microsoft.com/office/drawing/2014/main" id="{9D1D5787-3E91-4FEA-AB0C-57078295F086}"/>
              </a:ext>
            </a:extLst>
          </p:cNvPr>
          <p:cNvSpPr/>
          <p:nvPr userDrawn="1"/>
        </p:nvSpPr>
        <p:spPr>
          <a:xfrm>
            <a:off x="8721901" y="4772751"/>
            <a:ext cx="215315" cy="215444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 defTabSz="709352" fontAlgn="auto">
              <a:spcBef>
                <a:spcPts val="0"/>
              </a:spcBef>
              <a:spcAft>
                <a:spcPts val="0"/>
              </a:spcAft>
            </a:pPr>
            <a:fld id="{7109CE21-7FC1-49DC-910A-F2C968E54205}" type="slidenum">
              <a:rPr lang="en-US" sz="1400" b="0" spc="-7" smtClean="0">
                <a:solidFill>
                  <a:srgbClr val="2E2E38"/>
                </a:solidFill>
                <a:latin typeface="Arial" panose="020B0604020202020204" pitchFamily="34" charset="0"/>
              </a:rPr>
              <a:pPr algn="r" defTabSz="70935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400" b="0" spc="-7" dirty="0">
              <a:solidFill>
                <a:srgbClr val="2E2E38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41855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" y="22178"/>
            <a:ext cx="9144000" cy="2733403"/>
          </a:xfrm>
          <a:custGeom>
            <a:avLst/>
            <a:gdLst>
              <a:gd name="connsiteX0" fmla="*/ 0 w 12192000"/>
              <a:gd name="connsiteY0" fmla="*/ 0 h 3644537"/>
              <a:gd name="connsiteX1" fmla="*/ 12192000 w 12192000"/>
              <a:gd name="connsiteY1" fmla="*/ 0 h 3644537"/>
              <a:gd name="connsiteX2" fmla="*/ 12192000 w 12192000"/>
              <a:gd name="connsiteY2" fmla="*/ 3644537 h 3644537"/>
              <a:gd name="connsiteX3" fmla="*/ 0 w 12192000"/>
              <a:gd name="connsiteY3" fmla="*/ 3644537 h 36445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644537">
                <a:moveTo>
                  <a:pt x="0" y="0"/>
                </a:moveTo>
                <a:lnTo>
                  <a:pt x="12192000" y="0"/>
                </a:lnTo>
                <a:lnTo>
                  <a:pt x="12192000" y="3644537"/>
                </a:lnTo>
                <a:lnTo>
                  <a:pt x="0" y="364453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lIns="68421" tIns="34212" rIns="68421" bIns="34212" rtlCol="0">
            <a:noAutofit/>
          </a:bodyPr>
          <a:lstStyle>
            <a:lvl1pPr>
              <a:defRPr sz="1100"/>
            </a:lvl1pPr>
          </a:lstStyle>
          <a:p>
            <a:pPr lvl="0"/>
            <a:endParaRPr lang="en-US" noProof="0" dirty="0"/>
          </a:p>
        </p:txBody>
      </p:sp>
      <p:sp>
        <p:nvSpPr>
          <p:cNvPr id="3" name="Date Placeholder 1">
            <a:extLst>
              <a:ext uri="{FF2B5EF4-FFF2-40B4-BE49-F238E27FC236}">
                <a16:creationId xmlns:a16="http://schemas.microsoft.com/office/drawing/2014/main" id="{EF22E7C5-3AE3-452D-920D-E4A4CAB4E05C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628651" y="4767294"/>
            <a:ext cx="2057400" cy="274637"/>
          </a:xfrm>
          <a:prstGeom prst="rect">
            <a:avLst/>
          </a:prstGeom>
        </p:spPr>
        <p:txBody>
          <a:bodyPr lIns="68421" tIns="34212" rIns="68421" bIns="34212"/>
          <a:lstStyle>
            <a:lvl1pPr>
              <a:defRPr/>
            </a:lvl1pPr>
          </a:lstStyle>
          <a:p>
            <a:pPr defTabSz="684165" fontAlgn="auto">
              <a:spcBef>
                <a:spcPts val="0"/>
              </a:spcBef>
              <a:spcAft>
                <a:spcPts val="0"/>
              </a:spcAft>
              <a:defRPr/>
            </a:pPr>
            <a:fld id="{F5D0949E-7632-4D51-AE3F-37901AE6F6F2}" type="datetime8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06.09.2022 19:59</a:t>
            </a:fld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29875BD2-4B0D-4688-BE20-96177894C9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3028956" y="4767294"/>
            <a:ext cx="3086100" cy="274637"/>
          </a:xfrm>
          <a:prstGeom prst="rect">
            <a:avLst/>
          </a:prstGeom>
        </p:spPr>
        <p:txBody>
          <a:bodyPr lIns="68421" tIns="34212" rIns="68421" bIns="34212"/>
          <a:lstStyle>
            <a:lvl1pPr>
              <a:defRPr/>
            </a:lvl1pPr>
          </a:lstStyle>
          <a:p>
            <a:pPr algn="ctr" defTabSz="68416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72231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0969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439" r:id="rId1"/>
    <p:sldLayoutId id="2147485440" r:id="rId2"/>
  </p:sldLayoutIdLst>
  <p:timing>
    <p:tnLst>
      <p:par>
        <p:cTn id="1" dur="indefinite" restart="never" nodeType="tmRoot"/>
      </p:par>
    </p:tnLst>
  </p:timing>
  <p:hf sldNum="0" hdr="0" ft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5pPr>
      <a:lvl6pPr marL="343695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6pPr>
      <a:lvl7pPr marL="687391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7pPr>
      <a:lvl8pPr marL="1031086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8pPr>
      <a:lvl9pPr marL="1374782" algn="l" rtl="0" fontAlgn="base">
        <a:lnSpc>
          <a:spcPct val="90000"/>
        </a:lnSpc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171414" indent="-171414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241" indent="-17141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858656" indent="-17141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1482" indent="-17141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545896" indent="-171414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890326" indent="-171848" algn="l" defTabSz="68739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34021" indent="-171848" algn="l" defTabSz="68739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7715" indent="-171848" algn="l" defTabSz="68739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21412" indent="-171848" algn="l" defTabSz="687391" rtl="0" eaLnBrk="1" latinLnBrk="0" hangingPunct="1">
        <a:lnSpc>
          <a:spcPct val="90000"/>
        </a:lnSpc>
        <a:spcBef>
          <a:spcPts val="376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3695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7391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31086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4782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8477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62174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5869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9564" algn="l" defTabSz="6873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3BCC026-D41F-4484-AC63-1950436B9D32}"/>
              </a:ext>
            </a:extLst>
          </p:cNvPr>
          <p:cNvSpPr/>
          <p:nvPr/>
        </p:nvSpPr>
        <p:spPr>
          <a:xfrm>
            <a:off x="-3697" y="0"/>
            <a:ext cx="9147697" cy="363734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01" name="Picture 744" descr="ÐÐ°ÑÑÐ¸Ð½ÐºÐ¸ Ð¿Ð¾ Ð·Ð°Ð¿ÑÐ¾ÑÑ Ð³ÐµÑÐ± ÐºÐ°Ð·Ð°ÑÑÑÐ°Ð½Ð° png">
            <a:extLst>
              <a:ext uri="{FF2B5EF4-FFF2-40B4-BE49-F238E27FC236}">
                <a16:creationId xmlns:a16="http://schemas.microsoft.com/office/drawing/2014/main" id="{CB44B674-4B83-437E-9D27-4646BEA5E009}"/>
              </a:ext>
            </a:extLst>
          </p:cNvPr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15799" y="983711"/>
            <a:ext cx="1912400" cy="1915211"/>
          </a:xfrm>
          <a:prstGeom prst="rect">
            <a:avLst/>
          </a:prstGeom>
          <a:noFill/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DA116948-7F2A-4BEB-90E2-3ED087441C93}"/>
              </a:ext>
            </a:extLst>
          </p:cNvPr>
          <p:cNvGrpSpPr/>
          <p:nvPr/>
        </p:nvGrpSpPr>
        <p:grpSpPr>
          <a:xfrm>
            <a:off x="5579301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03" name="Группа 21">
              <a:extLst>
                <a:ext uri="{FF2B5EF4-FFF2-40B4-BE49-F238E27FC236}">
                  <a16:creationId xmlns:a16="http://schemas.microsoft.com/office/drawing/2014/main" id="{6DA6FBD2-1CFC-4016-81DA-F65FF52614FA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13" name="Graphic 1">
                <a:extLst>
                  <a:ext uri="{FF2B5EF4-FFF2-40B4-BE49-F238E27FC236}">
                    <a16:creationId xmlns:a16="http://schemas.microsoft.com/office/drawing/2014/main" id="{CF1CFA52-0940-4A9F-85CD-0C0933F335E2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4" name="Graphic 1">
                <a:extLst>
                  <a:ext uri="{FF2B5EF4-FFF2-40B4-BE49-F238E27FC236}">
                    <a16:creationId xmlns:a16="http://schemas.microsoft.com/office/drawing/2014/main" id="{68911975-B30B-4ABE-BFF8-BD381CE31403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5" name="Graphic 1">
                <a:extLst>
                  <a:ext uri="{FF2B5EF4-FFF2-40B4-BE49-F238E27FC236}">
                    <a16:creationId xmlns:a16="http://schemas.microsoft.com/office/drawing/2014/main" id="{66BB04E9-6DFD-4E4A-BF02-9BBA66AE98DE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6" name="Graphic 1">
                <a:extLst>
                  <a:ext uri="{FF2B5EF4-FFF2-40B4-BE49-F238E27FC236}">
                    <a16:creationId xmlns:a16="http://schemas.microsoft.com/office/drawing/2014/main" id="{454A54D9-C5E7-40C9-97DD-11B04BC28CA9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7" name="Graphic 1">
                <a:extLst>
                  <a:ext uri="{FF2B5EF4-FFF2-40B4-BE49-F238E27FC236}">
                    <a16:creationId xmlns:a16="http://schemas.microsoft.com/office/drawing/2014/main" id="{DDBF040B-545E-4188-B9A1-1AB981819D88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8" name="Graphic 1">
                <a:extLst>
                  <a:ext uri="{FF2B5EF4-FFF2-40B4-BE49-F238E27FC236}">
                    <a16:creationId xmlns:a16="http://schemas.microsoft.com/office/drawing/2014/main" id="{A4E9466B-BF7F-478D-9CC8-E0F336B6F944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9" name="Graphic 1">
                <a:extLst>
                  <a:ext uri="{FF2B5EF4-FFF2-40B4-BE49-F238E27FC236}">
                    <a16:creationId xmlns:a16="http://schemas.microsoft.com/office/drawing/2014/main" id="{53E52294-153A-4FBD-9112-25104E58F069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0" name="Graphic 1">
                <a:extLst>
                  <a:ext uri="{FF2B5EF4-FFF2-40B4-BE49-F238E27FC236}">
                    <a16:creationId xmlns:a16="http://schemas.microsoft.com/office/drawing/2014/main" id="{E8EC8002-92ED-416F-83AA-733AF51BD569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104" name="Группа 21">
              <a:extLst>
                <a:ext uri="{FF2B5EF4-FFF2-40B4-BE49-F238E27FC236}">
                  <a16:creationId xmlns:a16="http://schemas.microsoft.com/office/drawing/2014/main" id="{A59F9D55-0203-4818-8036-960239665DB4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05" name="Graphic 1">
                <a:extLst>
                  <a:ext uri="{FF2B5EF4-FFF2-40B4-BE49-F238E27FC236}">
                    <a16:creationId xmlns:a16="http://schemas.microsoft.com/office/drawing/2014/main" id="{B32ED6C2-7ED8-4E58-9BFA-9575357E01DE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6" name="Graphic 1">
                <a:extLst>
                  <a:ext uri="{FF2B5EF4-FFF2-40B4-BE49-F238E27FC236}">
                    <a16:creationId xmlns:a16="http://schemas.microsoft.com/office/drawing/2014/main" id="{AD862E38-73BA-41AD-B197-95363DEBD330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7" name="Graphic 1">
                <a:extLst>
                  <a:ext uri="{FF2B5EF4-FFF2-40B4-BE49-F238E27FC236}">
                    <a16:creationId xmlns:a16="http://schemas.microsoft.com/office/drawing/2014/main" id="{CD43CABA-B572-4768-8B21-E9DA8A386897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8" name="Graphic 1">
                <a:extLst>
                  <a:ext uri="{FF2B5EF4-FFF2-40B4-BE49-F238E27FC236}">
                    <a16:creationId xmlns:a16="http://schemas.microsoft.com/office/drawing/2014/main" id="{DFCCFB9E-796D-45C8-9D4B-7214B5E86446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9" name="Graphic 1">
                <a:extLst>
                  <a:ext uri="{FF2B5EF4-FFF2-40B4-BE49-F238E27FC236}">
                    <a16:creationId xmlns:a16="http://schemas.microsoft.com/office/drawing/2014/main" id="{17114EF9-A875-4D96-A350-F8A76F601F60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0" name="Graphic 1">
                <a:extLst>
                  <a:ext uri="{FF2B5EF4-FFF2-40B4-BE49-F238E27FC236}">
                    <a16:creationId xmlns:a16="http://schemas.microsoft.com/office/drawing/2014/main" id="{337B3D36-A053-47D4-8BD6-5838F3A8B17E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1" name="Graphic 1">
                <a:extLst>
                  <a:ext uri="{FF2B5EF4-FFF2-40B4-BE49-F238E27FC236}">
                    <a16:creationId xmlns:a16="http://schemas.microsoft.com/office/drawing/2014/main" id="{AAF7F6D4-6267-4CC6-9CDA-14B19BF9B8C3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2" name="Graphic 1">
                <a:extLst>
                  <a:ext uri="{FF2B5EF4-FFF2-40B4-BE49-F238E27FC236}">
                    <a16:creationId xmlns:a16="http://schemas.microsoft.com/office/drawing/2014/main" id="{5EE65ED5-A044-480B-9C94-A45F400316EF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</p:grpSp>
      </p:grpSp>
      <p:grpSp>
        <p:nvGrpSpPr>
          <p:cNvPr id="140" name="Группа 139">
            <a:extLst>
              <a:ext uri="{FF2B5EF4-FFF2-40B4-BE49-F238E27FC236}">
                <a16:creationId xmlns:a16="http://schemas.microsoft.com/office/drawing/2014/main" id="{FB7E02FC-7317-4ED5-A659-C5FCCDECC0B2}"/>
              </a:ext>
            </a:extLst>
          </p:cNvPr>
          <p:cNvGrpSpPr/>
          <p:nvPr/>
        </p:nvGrpSpPr>
        <p:grpSpPr>
          <a:xfrm>
            <a:off x="92849" y="1453156"/>
            <a:ext cx="3474376" cy="971552"/>
            <a:chOff x="6913248" y="5262784"/>
            <a:chExt cx="4914893" cy="1295402"/>
          </a:xfrm>
          <a:solidFill>
            <a:schemeClr val="bg1"/>
          </a:solidFill>
        </p:grpSpPr>
        <p:grpSp>
          <p:nvGrpSpPr>
            <p:cNvPr id="141" name="Группа 21">
              <a:extLst>
                <a:ext uri="{FF2B5EF4-FFF2-40B4-BE49-F238E27FC236}">
                  <a16:creationId xmlns:a16="http://schemas.microsoft.com/office/drawing/2014/main" id="{FB78115B-C6A5-41E0-932C-34DB86D9E816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7499561" y="4676471"/>
              <a:ext cx="1295402" cy="2468028"/>
              <a:chOff x="464266" y="2731227"/>
              <a:chExt cx="970345" cy="1850028"/>
            </a:xfrm>
            <a:grpFill/>
          </p:grpSpPr>
          <p:sp>
            <p:nvSpPr>
              <p:cNvPr id="151" name="Graphic 1">
                <a:extLst>
                  <a:ext uri="{FF2B5EF4-FFF2-40B4-BE49-F238E27FC236}">
                    <a16:creationId xmlns:a16="http://schemas.microsoft.com/office/drawing/2014/main" id="{E90D109E-C172-40AE-BFF7-646FF506EE35}"/>
                  </a:ext>
                </a:extLst>
              </p:cNvPr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2" name="Graphic 1">
                <a:extLst>
                  <a:ext uri="{FF2B5EF4-FFF2-40B4-BE49-F238E27FC236}">
                    <a16:creationId xmlns:a16="http://schemas.microsoft.com/office/drawing/2014/main" id="{AFE94FE4-BB04-491E-8783-4E416C2D1168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3" name="Graphic 1">
                <a:extLst>
                  <a:ext uri="{FF2B5EF4-FFF2-40B4-BE49-F238E27FC236}">
                    <a16:creationId xmlns:a16="http://schemas.microsoft.com/office/drawing/2014/main" id="{4D7FE1F4-DA79-4BEA-B68D-8ED6A3859731}"/>
                  </a:ext>
                </a:extLst>
              </p:cNvPr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4" name="Graphic 1">
                <a:extLst>
                  <a:ext uri="{FF2B5EF4-FFF2-40B4-BE49-F238E27FC236}">
                    <a16:creationId xmlns:a16="http://schemas.microsoft.com/office/drawing/2014/main" id="{810D097D-B676-4253-A13E-CF1825774DEC}"/>
                  </a:ext>
                </a:extLst>
              </p:cNvPr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5" name="Graphic 1">
                <a:extLst>
                  <a:ext uri="{FF2B5EF4-FFF2-40B4-BE49-F238E27FC236}">
                    <a16:creationId xmlns:a16="http://schemas.microsoft.com/office/drawing/2014/main" id="{2DC0A96A-72C3-4514-A708-EF2CE4C2B294}"/>
                  </a:ext>
                </a:extLst>
              </p:cNvPr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6" name="Graphic 1">
                <a:extLst>
                  <a:ext uri="{FF2B5EF4-FFF2-40B4-BE49-F238E27FC236}">
                    <a16:creationId xmlns:a16="http://schemas.microsoft.com/office/drawing/2014/main" id="{9D10D7EB-ACCA-48A7-B81A-2B0BABD30BA3}"/>
                  </a:ext>
                </a:extLst>
              </p:cNvPr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7" name="Graphic 1">
                <a:extLst>
                  <a:ext uri="{FF2B5EF4-FFF2-40B4-BE49-F238E27FC236}">
                    <a16:creationId xmlns:a16="http://schemas.microsoft.com/office/drawing/2014/main" id="{050CC6E2-C821-44D1-A725-CE9080AE55F2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8" name="Graphic 1">
                <a:extLst>
                  <a:ext uri="{FF2B5EF4-FFF2-40B4-BE49-F238E27FC236}">
                    <a16:creationId xmlns:a16="http://schemas.microsoft.com/office/drawing/2014/main" id="{44A1BAB2-8262-4B57-A6CD-7D1E72A204E6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142" name="Группа 21">
              <a:extLst>
                <a:ext uri="{FF2B5EF4-FFF2-40B4-BE49-F238E27FC236}">
                  <a16:creationId xmlns:a16="http://schemas.microsoft.com/office/drawing/2014/main" id="{6014815E-13DD-442D-9A34-1CADCC0BFB59}"/>
                </a:ext>
              </a:extLst>
            </p:cNvPr>
            <p:cNvGrpSpPr>
              <a:grpSpLocks/>
            </p:cNvGrpSpPr>
            <p:nvPr/>
          </p:nvGrpSpPr>
          <p:grpSpPr bwMode="auto">
            <a:xfrm rot="16200000">
              <a:off x="9946426" y="4676471"/>
              <a:ext cx="1295400" cy="2468030"/>
              <a:chOff x="464266" y="2731226"/>
              <a:chExt cx="970344" cy="1850029"/>
            </a:xfrm>
            <a:grpFill/>
          </p:grpSpPr>
          <p:sp>
            <p:nvSpPr>
              <p:cNvPr id="143" name="Graphic 1">
                <a:extLst>
                  <a:ext uri="{FF2B5EF4-FFF2-40B4-BE49-F238E27FC236}">
                    <a16:creationId xmlns:a16="http://schemas.microsoft.com/office/drawing/2014/main" id="{3F8691C7-A1B8-4561-B2AA-91A455FED2FF}"/>
                  </a:ext>
                </a:extLst>
              </p:cNvPr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44" name="Graphic 1">
                <a:extLst>
                  <a:ext uri="{FF2B5EF4-FFF2-40B4-BE49-F238E27FC236}">
                    <a16:creationId xmlns:a16="http://schemas.microsoft.com/office/drawing/2014/main" id="{33D2E5A2-5B39-4AF1-B9B9-14F35386A78B}"/>
                  </a:ext>
                </a:extLst>
              </p:cNvPr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45" name="Graphic 1">
                <a:extLst>
                  <a:ext uri="{FF2B5EF4-FFF2-40B4-BE49-F238E27FC236}">
                    <a16:creationId xmlns:a16="http://schemas.microsoft.com/office/drawing/2014/main" id="{06A9DB0F-BBE4-4D4C-ADC7-43759C2A8AF4}"/>
                  </a:ext>
                </a:extLst>
              </p:cNvPr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46" name="Graphic 1">
                <a:extLst>
                  <a:ext uri="{FF2B5EF4-FFF2-40B4-BE49-F238E27FC236}">
                    <a16:creationId xmlns:a16="http://schemas.microsoft.com/office/drawing/2014/main" id="{60FD6759-4FBC-4433-819D-584856C22B99}"/>
                  </a:ext>
                </a:extLst>
              </p:cNvPr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47" name="Graphic 1">
                <a:extLst>
                  <a:ext uri="{FF2B5EF4-FFF2-40B4-BE49-F238E27FC236}">
                    <a16:creationId xmlns:a16="http://schemas.microsoft.com/office/drawing/2014/main" id="{F44172F0-E8A3-40B5-85FD-6C52A49A326B}"/>
                  </a:ext>
                </a:extLst>
              </p:cNvPr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48" name="Graphic 1">
                <a:extLst>
                  <a:ext uri="{FF2B5EF4-FFF2-40B4-BE49-F238E27FC236}">
                    <a16:creationId xmlns:a16="http://schemas.microsoft.com/office/drawing/2014/main" id="{D4735F7C-4CA0-4BEE-B329-B8CA1799A416}"/>
                  </a:ext>
                </a:extLst>
              </p:cNvPr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49" name="Graphic 1">
                <a:extLst>
                  <a:ext uri="{FF2B5EF4-FFF2-40B4-BE49-F238E27FC236}">
                    <a16:creationId xmlns:a16="http://schemas.microsoft.com/office/drawing/2014/main" id="{31A71428-443D-462F-98F8-A3E2FA43706A}"/>
                  </a:ext>
                </a:extLst>
              </p:cNvPr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50" name="Graphic 1">
                <a:extLst>
                  <a:ext uri="{FF2B5EF4-FFF2-40B4-BE49-F238E27FC236}">
                    <a16:creationId xmlns:a16="http://schemas.microsoft.com/office/drawing/2014/main" id="{DFF7CE6A-1D77-4201-B276-98D34E81D1CD}"/>
                  </a:ext>
                </a:extLst>
              </p:cNvPr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>
                  <a:gd name="connsiteX0" fmla="*/ 374047 w 781050"/>
                  <a:gd name="connsiteY0" fmla="*/ 392716 h 781050"/>
                  <a:gd name="connsiteX1" fmla="*/ 278130 w 781050"/>
                  <a:gd name="connsiteY1" fmla="*/ 366617 h 781050"/>
                  <a:gd name="connsiteX2" fmla="*/ 260604 w 781050"/>
                  <a:gd name="connsiteY2" fmla="*/ 295561 h 781050"/>
                  <a:gd name="connsiteX3" fmla="*/ 200597 w 781050"/>
                  <a:gd name="connsiteY3" fmla="*/ 336709 h 781050"/>
                  <a:gd name="connsiteX4" fmla="*/ 226028 w 781050"/>
                  <a:gd name="connsiteY4" fmla="*/ 301847 h 781050"/>
                  <a:gd name="connsiteX5" fmla="*/ 193643 w 781050"/>
                  <a:gd name="connsiteY5" fmla="*/ 228600 h 781050"/>
                  <a:gd name="connsiteX6" fmla="*/ 91726 w 781050"/>
                  <a:gd name="connsiteY6" fmla="*/ 218313 h 781050"/>
                  <a:gd name="connsiteX7" fmla="*/ 95155 w 781050"/>
                  <a:gd name="connsiteY7" fmla="*/ 285369 h 781050"/>
                  <a:gd name="connsiteX8" fmla="*/ 141637 w 781050"/>
                  <a:gd name="connsiteY8" fmla="*/ 291275 h 781050"/>
                  <a:gd name="connsiteX9" fmla="*/ 150019 w 781050"/>
                  <a:gd name="connsiteY9" fmla="*/ 267367 h 781050"/>
                  <a:gd name="connsiteX10" fmla="*/ 169831 w 781050"/>
                  <a:gd name="connsiteY10" fmla="*/ 266033 h 781050"/>
                  <a:gd name="connsiteX11" fmla="*/ 160020 w 781050"/>
                  <a:gd name="connsiteY11" fmla="*/ 307181 h 781050"/>
                  <a:gd name="connsiteX12" fmla="*/ 80010 w 781050"/>
                  <a:gd name="connsiteY12" fmla="*/ 299752 h 781050"/>
                  <a:gd name="connsiteX13" fmla="*/ 75438 w 781050"/>
                  <a:gd name="connsiteY13" fmla="*/ 202787 h 781050"/>
                  <a:gd name="connsiteX14" fmla="*/ 139351 w 781050"/>
                  <a:gd name="connsiteY14" fmla="*/ 174974 h 781050"/>
                  <a:gd name="connsiteX15" fmla="*/ 81820 w 781050"/>
                  <a:gd name="connsiteY15" fmla="*/ 137732 h 781050"/>
                  <a:gd name="connsiteX16" fmla="*/ 30671 w 781050"/>
                  <a:gd name="connsiteY16" fmla="*/ 121253 h 781050"/>
                  <a:gd name="connsiteX17" fmla="*/ 76867 w 781050"/>
                  <a:gd name="connsiteY17" fmla="*/ 109823 h 781050"/>
                  <a:gd name="connsiteX18" fmla="*/ 9620 w 781050"/>
                  <a:gd name="connsiteY18" fmla="*/ 7144 h 781050"/>
                  <a:gd name="connsiteX19" fmla="*/ 112014 w 781050"/>
                  <a:gd name="connsiteY19" fmla="*/ 74200 h 781050"/>
                  <a:gd name="connsiteX20" fmla="*/ 123444 w 781050"/>
                  <a:gd name="connsiteY20" fmla="*/ 28004 h 781050"/>
                  <a:gd name="connsiteX21" fmla="*/ 139922 w 781050"/>
                  <a:gd name="connsiteY21" fmla="*/ 79248 h 781050"/>
                  <a:gd name="connsiteX22" fmla="*/ 177165 w 781050"/>
                  <a:gd name="connsiteY22" fmla="*/ 136779 h 781050"/>
                  <a:gd name="connsiteX23" fmla="*/ 204978 w 781050"/>
                  <a:gd name="connsiteY23" fmla="*/ 72866 h 781050"/>
                  <a:gd name="connsiteX24" fmla="*/ 301943 w 781050"/>
                  <a:gd name="connsiteY24" fmla="*/ 77438 h 781050"/>
                  <a:gd name="connsiteX25" fmla="*/ 309372 w 781050"/>
                  <a:gd name="connsiteY25" fmla="*/ 157353 h 781050"/>
                  <a:gd name="connsiteX26" fmla="*/ 268224 w 781050"/>
                  <a:gd name="connsiteY26" fmla="*/ 167164 h 781050"/>
                  <a:gd name="connsiteX27" fmla="*/ 269558 w 781050"/>
                  <a:gd name="connsiteY27" fmla="*/ 147352 h 781050"/>
                  <a:gd name="connsiteX28" fmla="*/ 293465 w 781050"/>
                  <a:gd name="connsiteY28" fmla="*/ 138970 h 781050"/>
                  <a:gd name="connsiteX29" fmla="*/ 287560 w 781050"/>
                  <a:gd name="connsiteY29" fmla="*/ 92488 h 781050"/>
                  <a:gd name="connsiteX30" fmla="*/ 220504 w 781050"/>
                  <a:gd name="connsiteY30" fmla="*/ 89059 h 781050"/>
                  <a:gd name="connsiteX31" fmla="*/ 230791 w 781050"/>
                  <a:gd name="connsiteY31" fmla="*/ 190976 h 781050"/>
                  <a:gd name="connsiteX32" fmla="*/ 304038 w 781050"/>
                  <a:gd name="connsiteY32" fmla="*/ 223266 h 781050"/>
                  <a:gd name="connsiteX33" fmla="*/ 338900 w 781050"/>
                  <a:gd name="connsiteY33" fmla="*/ 197930 h 781050"/>
                  <a:gd name="connsiteX34" fmla="*/ 297752 w 781050"/>
                  <a:gd name="connsiteY34" fmla="*/ 257937 h 781050"/>
                  <a:gd name="connsiteX35" fmla="*/ 368808 w 781050"/>
                  <a:gd name="connsiteY35" fmla="*/ 275463 h 781050"/>
                  <a:gd name="connsiteX36" fmla="*/ 394907 w 781050"/>
                  <a:gd name="connsiteY36" fmla="*/ 373856 h 781050"/>
                  <a:gd name="connsiteX37" fmla="*/ 421005 w 781050"/>
                  <a:gd name="connsiteY37" fmla="*/ 277940 h 781050"/>
                  <a:gd name="connsiteX38" fmla="*/ 492062 w 781050"/>
                  <a:gd name="connsiteY38" fmla="*/ 260414 h 781050"/>
                  <a:gd name="connsiteX39" fmla="*/ 450914 w 781050"/>
                  <a:gd name="connsiteY39" fmla="*/ 200406 h 781050"/>
                  <a:gd name="connsiteX40" fmla="*/ 485775 w 781050"/>
                  <a:gd name="connsiteY40" fmla="*/ 225838 h 781050"/>
                  <a:gd name="connsiteX41" fmla="*/ 559022 w 781050"/>
                  <a:gd name="connsiteY41" fmla="*/ 193548 h 781050"/>
                  <a:gd name="connsiteX42" fmla="*/ 569309 w 781050"/>
                  <a:gd name="connsiteY42" fmla="*/ 91631 h 781050"/>
                  <a:gd name="connsiteX43" fmla="*/ 502253 w 781050"/>
                  <a:gd name="connsiteY43" fmla="*/ 95059 h 781050"/>
                  <a:gd name="connsiteX44" fmla="*/ 496348 w 781050"/>
                  <a:gd name="connsiteY44" fmla="*/ 141542 h 781050"/>
                  <a:gd name="connsiteX45" fmla="*/ 520256 w 781050"/>
                  <a:gd name="connsiteY45" fmla="*/ 149924 h 781050"/>
                  <a:gd name="connsiteX46" fmla="*/ 521589 w 781050"/>
                  <a:gd name="connsiteY46" fmla="*/ 169736 h 781050"/>
                  <a:gd name="connsiteX47" fmla="*/ 480441 w 781050"/>
                  <a:gd name="connsiteY47" fmla="*/ 159925 h 781050"/>
                  <a:gd name="connsiteX48" fmla="*/ 487871 w 781050"/>
                  <a:gd name="connsiteY48" fmla="*/ 79915 h 781050"/>
                  <a:gd name="connsiteX49" fmla="*/ 584835 w 781050"/>
                  <a:gd name="connsiteY49" fmla="*/ 75343 h 781050"/>
                  <a:gd name="connsiteX50" fmla="*/ 612648 w 781050"/>
                  <a:gd name="connsiteY50" fmla="*/ 139160 h 781050"/>
                  <a:gd name="connsiteX51" fmla="*/ 649891 w 781050"/>
                  <a:gd name="connsiteY51" fmla="*/ 81629 h 781050"/>
                  <a:gd name="connsiteX52" fmla="*/ 666369 w 781050"/>
                  <a:gd name="connsiteY52" fmla="*/ 30385 h 781050"/>
                  <a:gd name="connsiteX53" fmla="*/ 677799 w 781050"/>
                  <a:gd name="connsiteY53" fmla="*/ 76581 h 781050"/>
                  <a:gd name="connsiteX54" fmla="*/ 780193 w 781050"/>
                  <a:gd name="connsiteY54" fmla="*/ 9525 h 781050"/>
                  <a:gd name="connsiteX55" fmla="*/ 713137 w 781050"/>
                  <a:gd name="connsiteY55" fmla="*/ 111919 h 781050"/>
                  <a:gd name="connsiteX56" fmla="*/ 759333 w 781050"/>
                  <a:gd name="connsiteY56" fmla="*/ 123349 h 781050"/>
                  <a:gd name="connsiteX57" fmla="*/ 708184 w 781050"/>
                  <a:gd name="connsiteY57" fmla="*/ 139827 h 781050"/>
                  <a:gd name="connsiteX58" fmla="*/ 650653 w 781050"/>
                  <a:gd name="connsiteY58" fmla="*/ 177070 h 781050"/>
                  <a:gd name="connsiteX59" fmla="*/ 714565 w 781050"/>
                  <a:gd name="connsiteY59" fmla="*/ 204883 h 781050"/>
                  <a:gd name="connsiteX60" fmla="*/ 709994 w 781050"/>
                  <a:gd name="connsiteY60" fmla="*/ 301847 h 781050"/>
                  <a:gd name="connsiteX61" fmla="*/ 630079 w 781050"/>
                  <a:gd name="connsiteY61" fmla="*/ 309277 h 781050"/>
                  <a:gd name="connsiteX62" fmla="*/ 620268 w 781050"/>
                  <a:gd name="connsiteY62" fmla="*/ 268129 h 781050"/>
                  <a:gd name="connsiteX63" fmla="*/ 640080 w 781050"/>
                  <a:gd name="connsiteY63" fmla="*/ 269462 h 781050"/>
                  <a:gd name="connsiteX64" fmla="*/ 648462 w 781050"/>
                  <a:gd name="connsiteY64" fmla="*/ 293370 h 781050"/>
                  <a:gd name="connsiteX65" fmla="*/ 694944 w 781050"/>
                  <a:gd name="connsiteY65" fmla="*/ 287465 h 781050"/>
                  <a:gd name="connsiteX66" fmla="*/ 698373 w 781050"/>
                  <a:gd name="connsiteY66" fmla="*/ 220409 h 781050"/>
                  <a:gd name="connsiteX67" fmla="*/ 596456 w 781050"/>
                  <a:gd name="connsiteY67" fmla="*/ 230696 h 781050"/>
                  <a:gd name="connsiteX68" fmla="*/ 564166 w 781050"/>
                  <a:gd name="connsiteY68" fmla="*/ 303943 h 781050"/>
                  <a:gd name="connsiteX69" fmla="*/ 589598 w 781050"/>
                  <a:gd name="connsiteY69" fmla="*/ 338804 h 781050"/>
                  <a:gd name="connsiteX70" fmla="*/ 529590 w 781050"/>
                  <a:gd name="connsiteY70" fmla="*/ 297656 h 781050"/>
                  <a:gd name="connsiteX71" fmla="*/ 512064 w 781050"/>
                  <a:gd name="connsiteY71" fmla="*/ 368713 h 781050"/>
                  <a:gd name="connsiteX72" fmla="*/ 413671 w 781050"/>
                  <a:gd name="connsiteY72" fmla="*/ 394811 h 781050"/>
                  <a:gd name="connsiteX73" fmla="*/ 509588 w 781050"/>
                  <a:gd name="connsiteY73" fmla="*/ 420910 h 781050"/>
                  <a:gd name="connsiteX74" fmla="*/ 527114 w 781050"/>
                  <a:gd name="connsiteY74" fmla="*/ 491966 h 781050"/>
                  <a:gd name="connsiteX75" fmla="*/ 587216 w 781050"/>
                  <a:gd name="connsiteY75" fmla="*/ 450818 h 781050"/>
                  <a:gd name="connsiteX76" fmla="*/ 561785 w 781050"/>
                  <a:gd name="connsiteY76" fmla="*/ 485680 h 781050"/>
                  <a:gd name="connsiteX77" fmla="*/ 594170 w 781050"/>
                  <a:gd name="connsiteY77" fmla="*/ 558927 h 781050"/>
                  <a:gd name="connsiteX78" fmla="*/ 696087 w 781050"/>
                  <a:gd name="connsiteY78" fmla="*/ 569214 h 781050"/>
                  <a:gd name="connsiteX79" fmla="*/ 692658 w 781050"/>
                  <a:gd name="connsiteY79" fmla="*/ 502158 h 781050"/>
                  <a:gd name="connsiteX80" fmla="*/ 646176 w 781050"/>
                  <a:gd name="connsiteY80" fmla="*/ 496253 h 781050"/>
                  <a:gd name="connsiteX81" fmla="*/ 637794 w 781050"/>
                  <a:gd name="connsiteY81" fmla="*/ 520160 h 781050"/>
                  <a:gd name="connsiteX82" fmla="*/ 617982 w 781050"/>
                  <a:gd name="connsiteY82" fmla="*/ 521494 h 781050"/>
                  <a:gd name="connsiteX83" fmla="*/ 627793 w 781050"/>
                  <a:gd name="connsiteY83" fmla="*/ 480346 h 781050"/>
                  <a:gd name="connsiteX84" fmla="*/ 707803 w 781050"/>
                  <a:gd name="connsiteY84" fmla="*/ 487680 h 781050"/>
                  <a:gd name="connsiteX85" fmla="*/ 712375 w 781050"/>
                  <a:gd name="connsiteY85" fmla="*/ 584645 h 781050"/>
                  <a:gd name="connsiteX86" fmla="*/ 648462 w 781050"/>
                  <a:gd name="connsiteY86" fmla="*/ 612458 h 781050"/>
                  <a:gd name="connsiteX87" fmla="*/ 705993 w 781050"/>
                  <a:gd name="connsiteY87" fmla="*/ 649700 h 781050"/>
                  <a:gd name="connsiteX88" fmla="*/ 757142 w 781050"/>
                  <a:gd name="connsiteY88" fmla="*/ 666179 h 781050"/>
                  <a:gd name="connsiteX89" fmla="*/ 710946 w 781050"/>
                  <a:gd name="connsiteY89" fmla="*/ 677704 h 781050"/>
                  <a:gd name="connsiteX90" fmla="*/ 778002 w 781050"/>
                  <a:gd name="connsiteY90" fmla="*/ 780098 h 781050"/>
                  <a:gd name="connsiteX91" fmla="*/ 675608 w 781050"/>
                  <a:gd name="connsiteY91" fmla="*/ 713042 h 781050"/>
                  <a:gd name="connsiteX92" fmla="*/ 664178 w 781050"/>
                  <a:gd name="connsiteY92" fmla="*/ 759238 h 781050"/>
                  <a:gd name="connsiteX93" fmla="*/ 647700 w 781050"/>
                  <a:gd name="connsiteY93" fmla="*/ 708088 h 781050"/>
                  <a:gd name="connsiteX94" fmla="*/ 610457 w 781050"/>
                  <a:gd name="connsiteY94" fmla="*/ 650558 h 781050"/>
                  <a:gd name="connsiteX95" fmla="*/ 582644 w 781050"/>
                  <a:gd name="connsiteY95" fmla="*/ 714470 h 781050"/>
                  <a:gd name="connsiteX96" fmla="*/ 485680 w 781050"/>
                  <a:gd name="connsiteY96" fmla="*/ 709898 h 781050"/>
                  <a:gd name="connsiteX97" fmla="*/ 478346 w 781050"/>
                  <a:gd name="connsiteY97" fmla="*/ 629984 h 781050"/>
                  <a:gd name="connsiteX98" fmla="*/ 519494 w 781050"/>
                  <a:gd name="connsiteY98" fmla="*/ 620078 h 781050"/>
                  <a:gd name="connsiteX99" fmla="*/ 518160 w 781050"/>
                  <a:gd name="connsiteY99" fmla="*/ 639890 h 781050"/>
                  <a:gd name="connsiteX100" fmla="*/ 494252 w 781050"/>
                  <a:gd name="connsiteY100" fmla="*/ 648272 h 781050"/>
                  <a:gd name="connsiteX101" fmla="*/ 500158 w 781050"/>
                  <a:gd name="connsiteY101" fmla="*/ 694754 h 781050"/>
                  <a:gd name="connsiteX102" fmla="*/ 567214 w 781050"/>
                  <a:gd name="connsiteY102" fmla="*/ 698183 h 781050"/>
                  <a:gd name="connsiteX103" fmla="*/ 556927 w 781050"/>
                  <a:gd name="connsiteY103" fmla="*/ 596265 h 781050"/>
                  <a:gd name="connsiteX104" fmla="*/ 483680 w 781050"/>
                  <a:gd name="connsiteY104" fmla="*/ 563975 h 781050"/>
                  <a:gd name="connsiteX105" fmla="*/ 448818 w 781050"/>
                  <a:gd name="connsiteY105" fmla="*/ 589407 h 781050"/>
                  <a:gd name="connsiteX106" fmla="*/ 489966 w 781050"/>
                  <a:gd name="connsiteY106" fmla="*/ 529400 h 781050"/>
                  <a:gd name="connsiteX107" fmla="*/ 418910 w 781050"/>
                  <a:gd name="connsiteY107" fmla="*/ 511874 h 781050"/>
                  <a:gd name="connsiteX108" fmla="*/ 392811 w 781050"/>
                  <a:gd name="connsiteY108" fmla="*/ 413480 h 781050"/>
                  <a:gd name="connsiteX109" fmla="*/ 366713 w 781050"/>
                  <a:gd name="connsiteY109" fmla="*/ 509397 h 781050"/>
                  <a:gd name="connsiteX110" fmla="*/ 295656 w 781050"/>
                  <a:gd name="connsiteY110" fmla="*/ 526923 h 781050"/>
                  <a:gd name="connsiteX111" fmla="*/ 336804 w 781050"/>
                  <a:gd name="connsiteY111" fmla="*/ 586931 h 781050"/>
                  <a:gd name="connsiteX112" fmla="*/ 301943 w 781050"/>
                  <a:gd name="connsiteY112" fmla="*/ 561499 h 781050"/>
                  <a:gd name="connsiteX113" fmla="*/ 228695 w 781050"/>
                  <a:gd name="connsiteY113" fmla="*/ 593789 h 781050"/>
                  <a:gd name="connsiteX114" fmla="*/ 218408 w 781050"/>
                  <a:gd name="connsiteY114" fmla="*/ 695706 h 781050"/>
                  <a:gd name="connsiteX115" fmla="*/ 285464 w 781050"/>
                  <a:gd name="connsiteY115" fmla="*/ 692277 h 781050"/>
                  <a:gd name="connsiteX116" fmla="*/ 291370 w 781050"/>
                  <a:gd name="connsiteY116" fmla="*/ 645795 h 781050"/>
                  <a:gd name="connsiteX117" fmla="*/ 267462 w 781050"/>
                  <a:gd name="connsiteY117" fmla="*/ 637413 h 781050"/>
                  <a:gd name="connsiteX118" fmla="*/ 266129 w 781050"/>
                  <a:gd name="connsiteY118" fmla="*/ 617601 h 781050"/>
                  <a:gd name="connsiteX119" fmla="*/ 307277 w 781050"/>
                  <a:gd name="connsiteY119" fmla="*/ 627412 h 781050"/>
                  <a:gd name="connsiteX120" fmla="*/ 299847 w 781050"/>
                  <a:gd name="connsiteY120" fmla="*/ 707327 h 781050"/>
                  <a:gd name="connsiteX121" fmla="*/ 202883 w 781050"/>
                  <a:gd name="connsiteY121" fmla="*/ 711899 h 781050"/>
                  <a:gd name="connsiteX122" fmla="*/ 175069 w 781050"/>
                  <a:gd name="connsiteY122" fmla="*/ 648081 h 781050"/>
                  <a:gd name="connsiteX123" fmla="*/ 137827 w 781050"/>
                  <a:gd name="connsiteY123" fmla="*/ 705612 h 781050"/>
                  <a:gd name="connsiteX124" fmla="*/ 121349 w 781050"/>
                  <a:gd name="connsiteY124" fmla="*/ 756857 h 781050"/>
                  <a:gd name="connsiteX125" fmla="*/ 109919 w 781050"/>
                  <a:gd name="connsiteY125" fmla="*/ 710660 h 781050"/>
                  <a:gd name="connsiteX126" fmla="*/ 7144 w 781050"/>
                  <a:gd name="connsiteY126" fmla="*/ 778193 h 781050"/>
                  <a:gd name="connsiteX127" fmla="*/ 74200 w 781050"/>
                  <a:gd name="connsiteY127" fmla="*/ 675799 h 781050"/>
                  <a:gd name="connsiteX128" fmla="*/ 28004 w 781050"/>
                  <a:gd name="connsiteY128" fmla="*/ 664369 h 781050"/>
                  <a:gd name="connsiteX129" fmla="*/ 79248 w 781050"/>
                  <a:gd name="connsiteY129" fmla="*/ 647890 h 781050"/>
                  <a:gd name="connsiteX130" fmla="*/ 136779 w 781050"/>
                  <a:gd name="connsiteY130" fmla="*/ 610648 h 781050"/>
                  <a:gd name="connsiteX131" fmla="*/ 72962 w 781050"/>
                  <a:gd name="connsiteY131" fmla="*/ 582835 h 781050"/>
                  <a:gd name="connsiteX132" fmla="*/ 77534 w 781050"/>
                  <a:gd name="connsiteY132" fmla="*/ 485870 h 781050"/>
                  <a:gd name="connsiteX133" fmla="*/ 157544 w 781050"/>
                  <a:gd name="connsiteY133" fmla="*/ 478441 h 781050"/>
                  <a:gd name="connsiteX134" fmla="*/ 167354 w 781050"/>
                  <a:gd name="connsiteY134" fmla="*/ 519589 h 781050"/>
                  <a:gd name="connsiteX135" fmla="*/ 147542 w 781050"/>
                  <a:gd name="connsiteY135" fmla="*/ 518255 h 781050"/>
                  <a:gd name="connsiteX136" fmla="*/ 139160 w 781050"/>
                  <a:gd name="connsiteY136" fmla="*/ 494348 h 781050"/>
                  <a:gd name="connsiteX137" fmla="*/ 92678 w 781050"/>
                  <a:gd name="connsiteY137" fmla="*/ 500253 h 781050"/>
                  <a:gd name="connsiteX138" fmla="*/ 89249 w 781050"/>
                  <a:gd name="connsiteY138" fmla="*/ 567309 h 781050"/>
                  <a:gd name="connsiteX139" fmla="*/ 191167 w 781050"/>
                  <a:gd name="connsiteY139" fmla="*/ 557022 h 781050"/>
                  <a:gd name="connsiteX140" fmla="*/ 223456 w 781050"/>
                  <a:gd name="connsiteY140" fmla="*/ 483775 h 781050"/>
                  <a:gd name="connsiteX141" fmla="*/ 198025 w 781050"/>
                  <a:gd name="connsiteY141" fmla="*/ 448913 h 781050"/>
                  <a:gd name="connsiteX142" fmla="*/ 258128 w 781050"/>
                  <a:gd name="connsiteY142" fmla="*/ 490061 h 781050"/>
                  <a:gd name="connsiteX143" fmla="*/ 275654 w 781050"/>
                  <a:gd name="connsiteY143" fmla="*/ 419005 h 781050"/>
                  <a:gd name="connsiteX144" fmla="*/ 374047 w 781050"/>
                  <a:gd name="connsiteY144" fmla="*/ 392716 h 781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</a:cxnLst>
                <a:rect l="l" t="t" r="r" b="b"/>
                <a:pathLst>
                  <a:path w="781050" h="78105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grpFill/>
              <a:ln w="12700" cap="rnd">
                <a:noFill/>
                <a:prstDash val="solid"/>
                <a:round/>
              </a:ln>
              <a:effectLst>
                <a:outerShdw blurRad="139700" sx="102000" sy="102000" algn="ctr" rotWithShape="0">
                  <a:prstClr val="black">
                    <a:alpha val="23000"/>
                  </a:prstClr>
                </a:outerShdw>
              </a:effectLst>
            </p:spPr>
            <p:txBody>
              <a:bodyPr anchor="ctr"/>
              <a:lstStyle/>
              <a:p>
                <a:pPr defTabSz="685800" eaLnBrk="0" fontAlgn="auto" hangingPunct="0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dirty="0">
                  <a:solidFill>
                    <a:prstClr val="black"/>
                  </a:solidFill>
                  <a:latin typeface="Calibri"/>
                  <a:cs typeface="+mn-cs"/>
                </a:endParaRPr>
              </a:p>
            </p:txBody>
          </p:sp>
        </p:grpSp>
      </p:grpSp>
      <p:sp>
        <p:nvSpPr>
          <p:cNvPr id="159" name="TextBox 7">
            <a:extLst>
              <a:ext uri="{FF2B5EF4-FFF2-40B4-BE49-F238E27FC236}">
                <a16:creationId xmlns:a16="http://schemas.microsoft.com/office/drawing/2014/main" id="{946BD61A-E0B8-41B3-957A-A39B81ABD8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15523" y="4896968"/>
            <a:ext cx="279796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900" b="1" dirty="0">
                <a:solidFill>
                  <a:schemeClr val="accent5"/>
                </a:solidFill>
                <a:latin typeface="Arial" panose="020B0604020202020204" pitchFamily="34" charset="0"/>
              </a:rPr>
              <a:t>г. Нур-Султан, </a:t>
            </a:r>
            <a:r>
              <a:rPr lang="kk-KZ" altLang="ru-RU" sz="9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ентябрь</a:t>
            </a:r>
            <a:r>
              <a:rPr lang="ru-RU" altLang="ru-RU" sz="9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</a:t>
            </a:r>
            <a:r>
              <a:rPr lang="ru-RU" altLang="ru-RU" sz="900" b="1" dirty="0">
                <a:solidFill>
                  <a:schemeClr val="accent5"/>
                </a:solidFill>
                <a:latin typeface="Arial" panose="020B0604020202020204" pitchFamily="34" charset="0"/>
              </a:rPr>
              <a:t>2022 г.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1CAE5FE0-3045-466B-80BC-B7BC6F20E385}"/>
              </a:ext>
            </a:extLst>
          </p:cNvPr>
          <p:cNvSpPr txBox="1"/>
          <p:nvPr/>
        </p:nvSpPr>
        <p:spPr>
          <a:xfrm>
            <a:off x="-3696" y="44866"/>
            <a:ext cx="9143999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600" b="1" dirty="0">
                <a:solidFill>
                  <a:prstClr val="white"/>
                </a:solidFill>
                <a:latin typeface="Arial" panose="020B0604020202020204" pitchFamily="34" charset="0"/>
              </a:rPr>
              <a:t>Министерство национальной экономики Республики Казахстан</a:t>
            </a:r>
          </a:p>
        </p:txBody>
      </p:sp>
      <p:sp>
        <p:nvSpPr>
          <p:cNvPr id="46" name="Подзаголовок 3">
            <a:extLst>
              <a:ext uri="{FF2B5EF4-FFF2-40B4-BE49-F238E27FC236}">
                <a16:creationId xmlns:a16="http://schemas.microsoft.com/office/drawing/2014/main" id="{91879CEE-F646-4A8C-AC58-58034E4A007B}"/>
              </a:ext>
            </a:extLst>
          </p:cNvPr>
          <p:cNvSpPr txBox="1">
            <a:spLocks/>
          </p:cNvSpPr>
          <p:nvPr/>
        </p:nvSpPr>
        <p:spPr>
          <a:xfrm>
            <a:off x="906427" y="3643754"/>
            <a:ext cx="7216160" cy="996613"/>
          </a:xfrm>
          <a:prstGeom prst="rect">
            <a:avLst/>
          </a:prstGeom>
        </p:spPr>
        <p:txBody>
          <a:bodyPr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ru-RU" sz="15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 проекте Закона РК «Об объемах трансфертов общего характера между республиканским и областными бюджетами, бюджетами городов республиканского значения, столицы на 2023 – 2025 годы»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>
          <a:xfrm>
            <a:off x="8412071" y="-13553"/>
            <a:ext cx="835819" cy="274637"/>
          </a:xfrm>
        </p:spPr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defRPr/>
            </a:pPr>
            <a:fld id="{4F4B3415-8668-4D67-BCFC-D541406609EB}" type="datetime1">
              <a:rPr lang="ru-RU" sz="1000">
                <a:solidFill>
                  <a:schemeClr val="bg1"/>
                </a:solidFill>
                <a:latin typeface="Arial Narrow" panose="020B0606020202030204" pitchFamily="34" charset="0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t>06.09.2022</a:t>
            </a:fld>
            <a:endParaRPr lang="en-US" sz="10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4544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Content Placeholder 1">
            <a:extLst>
              <a:ext uri="{FF2B5EF4-FFF2-40B4-BE49-F238E27FC236}">
                <a16:creationId xmlns:a16="http://schemas.microsoft.com/office/drawing/2014/main" id="{88B6DC51-189F-40AB-98D3-0693A1237245}"/>
              </a:ext>
            </a:extLst>
          </p:cNvPr>
          <p:cNvSpPr txBox="1">
            <a:spLocks/>
          </p:cNvSpPr>
          <p:nvPr/>
        </p:nvSpPr>
        <p:spPr>
          <a:xfrm>
            <a:off x="450624" y="247613"/>
            <a:ext cx="8729095" cy="3164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08491" rtl="0" eaLnBrk="1" latinLnBrk="0" hangingPunct="1">
              <a:spcBef>
                <a:spcPts val="0"/>
              </a:spcBef>
              <a:spcAft>
                <a:spcPts val="272"/>
              </a:spcAft>
              <a:buClr>
                <a:schemeClr val="tx2"/>
              </a:buClr>
              <a:buSzPct val="70000"/>
              <a:buFontTx/>
              <a:buNone/>
              <a:defRPr sz="1633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127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998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63296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26592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 typeface="+mj-lt"/>
              <a:buAutoNum type="arabicPeriod"/>
              <a:defRPr sz="907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98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chemeClr val="accent5"/>
                </a:solidFill>
                <a:latin typeface="Arial" panose="020B0604020202020204" pitchFamily="34" charset="0"/>
              </a:rPr>
              <a:t>Особенности трансфертов общего характера на 2023-2025 годы</a:t>
            </a:r>
            <a:endParaRPr lang="en-US" sz="2000" b="1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1401784"/>
              </p:ext>
            </p:extLst>
          </p:nvPr>
        </p:nvGraphicFramePr>
        <p:xfrm>
          <a:off x="508243" y="805533"/>
          <a:ext cx="8140457" cy="4337966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8140457">
                  <a:extLst>
                    <a:ext uri="{9D8B030D-6E8A-4147-A177-3AD203B41FA5}">
                      <a16:colId xmlns:a16="http://schemas.microsoft.com/office/drawing/2014/main" val="2268261799"/>
                    </a:ext>
                  </a:extLst>
                </a:gridCol>
              </a:tblGrid>
              <a:tr h="308154">
                <a:tc>
                  <a:txBody>
                    <a:bodyPr/>
                    <a:lstStyle/>
                    <a:p>
                      <a:pPr marL="0" indent="85725" defTabSz="513701">
                        <a:buClr>
                          <a:srgbClr val="0070CE"/>
                        </a:buClr>
                        <a:buSzPct val="100000"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I.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Повышение финансовой самостоятельности регионов</a:t>
                      </a:r>
                      <a:endParaRPr lang="ru-RU" sz="14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2974">
                <a:tc>
                  <a:txBody>
                    <a:bodyPr/>
                    <a:lstStyle/>
                    <a:p>
                      <a:pPr marL="357188" indent="-177800" algn="just">
                        <a:lnSpc>
                          <a:spcPct val="100000"/>
                        </a:lnSpc>
                        <a:buClr>
                          <a:schemeClr val="accent5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Учет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</a:rPr>
                        <a:t> п</a:t>
                      </a: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ереданных на местный уровень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налоговых</a:t>
                      </a:r>
                      <a:r>
                        <a:rPr lang="ru-RU" sz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и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неналоговых поступлений</a:t>
                      </a:r>
                    </a:p>
                    <a:p>
                      <a:pPr marL="357188" marR="0" indent="-177800" algn="just" defTabSz="687391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Учет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налогового потенциала</a:t>
                      </a:r>
                      <a:r>
                        <a:rPr lang="ru-RU" sz="1200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регионов</a:t>
                      </a:r>
                      <a:endParaRPr lang="ru-RU" sz="1200" b="1" dirty="0"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572943"/>
                  </a:ext>
                </a:extLst>
              </a:tr>
              <a:tr h="300815">
                <a:tc>
                  <a:txBody>
                    <a:bodyPr/>
                    <a:lstStyle/>
                    <a:p>
                      <a:pPr marL="0" indent="85725" algn="l" fontAlgn="t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II.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Минимизация</a:t>
                      </a: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встречных финансовых потоков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9496">
                <a:tc>
                  <a:txBody>
                    <a:bodyPr/>
                    <a:lstStyle/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Включение в базу местных бюджетов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целевых текущих трансфертов </a:t>
                      </a: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с сохранением их целевого назначения</a:t>
                      </a:r>
                      <a:endParaRPr lang="en-US" sz="1200" dirty="0" smtClean="0">
                        <a:latin typeface="Arial" panose="020B0604020202020204" pitchFamily="34" charset="0"/>
                      </a:endParaRP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Снижение объема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бюджетных изъятий регионов-доноров</a:t>
                      </a:r>
                      <a:endParaRPr lang="ru-RU" sz="1200" dirty="0" smtClean="0"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5975663"/>
                  </a:ext>
                </a:extLst>
              </a:tr>
              <a:tr h="267111">
                <a:tc>
                  <a:txBody>
                    <a:bodyPr/>
                    <a:lstStyle/>
                    <a:p>
                      <a:pPr marL="0" marR="0" indent="85725" algn="l" defTabSz="687391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III.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Учет региональных особенностей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239478">
                <a:tc>
                  <a:txBody>
                    <a:bodyPr/>
                    <a:lstStyle/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Расчет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расходной базы регионов</a:t>
                      </a:r>
                      <a:r>
                        <a:rPr lang="ru-RU" sz="1200" baseline="0" dirty="0" smtClean="0">
                          <a:latin typeface="Arial" panose="020B0604020202020204" pitchFamily="34" charset="0"/>
                        </a:rPr>
                        <a:t> с учетом</a:t>
                      </a: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:</a:t>
                      </a: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состояния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износа сетей тепло-, водоснабжения и водоотведения</a:t>
                      </a: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поэтапного улучшения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состояния дорог областного, районного значения</a:t>
                      </a: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поэтапного охвата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детей  бесплатными творческими, спортивными кружками</a:t>
                      </a: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уровня </a:t>
                      </a:r>
                      <a:r>
                        <a:rPr lang="ru-RU" sz="1000" b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укрепленности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потенциала регионов противодействию чрезвычайных ситуации природного и техногенного характера</a:t>
                      </a: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поэтапного материально-технического оснащения </a:t>
                      </a:r>
                      <a:r>
                        <a:rPr lang="ru-RU" sz="10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органов внутренних дел</a:t>
                      </a: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499426"/>
                  </a:ext>
                </a:extLst>
              </a:tr>
              <a:tr h="256548">
                <a:tc>
                  <a:txBody>
                    <a:bodyPr/>
                    <a:lstStyle/>
                    <a:p>
                      <a:pPr marL="0" indent="85725" algn="l" fontAlgn="t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IV.</a:t>
                      </a:r>
                      <a:r>
                        <a:rPr lang="en-US" sz="1400" b="1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Учет </a:t>
                      </a:r>
                      <a:r>
                        <a:rPr lang="kk-KZ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рекомендаций депутатов</a:t>
                      </a: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</a:rPr>
                        <a:t>Сената Парламента и Счетного комитета</a:t>
                      </a:r>
                      <a:endParaRPr lang="ru-RU" sz="1400" b="0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893390">
                <a:tc>
                  <a:txBody>
                    <a:bodyPr/>
                    <a:lstStyle/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Использование в качестве расчетной базы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фактически сложившийся уровень </a:t>
                      </a: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текущих расходов</a:t>
                      </a: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Учет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резерва МИО в размере 2 %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Tahoma" panose="020B0604030504040204" pitchFamily="34" charset="0"/>
                          <a:cs typeface="Arial" panose="020B0604020202020204" pitchFamily="34" charset="0"/>
                        </a:rPr>
                        <a:t> от доходов МБ</a:t>
                      </a:r>
                      <a:endParaRPr lang="en-US" sz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Tahoma" panose="020B0604030504040204" pitchFamily="34" charset="0"/>
                        <a:cs typeface="Arial" panose="020B0604020202020204" pitchFamily="34" charset="0"/>
                      </a:endParaRP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Учет обслуживания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основного долга по облигационным займам</a:t>
                      </a: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 в рамках ДКЗ, гос. обязательств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по ГЧП</a:t>
                      </a:r>
                    </a:p>
                    <a:p>
                      <a:pPr marL="357188" marR="0" indent="-177800" algn="just" defTabSz="687391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accent5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Актуализация отраслевых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показателей</a:t>
                      </a:r>
                      <a:r>
                        <a:rPr lang="ru-RU" sz="1200" dirty="0" smtClean="0">
                          <a:latin typeface="Arial" panose="020B0604020202020204" pitchFamily="34" charset="0"/>
                        </a:rPr>
                        <a:t> и </a:t>
                      </a:r>
                      <a:r>
                        <a:rPr lang="ru-RU" sz="1200" b="1" dirty="0" smtClean="0">
                          <a:solidFill>
                            <a:schemeClr val="accent5"/>
                          </a:solidFill>
                          <a:latin typeface="Arial" panose="020B0604020202020204" pitchFamily="34" charset="0"/>
                        </a:rPr>
                        <a:t>коэффициентов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4814946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98430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Content Placeholder 1">
            <a:extLst>
              <a:ext uri="{FF2B5EF4-FFF2-40B4-BE49-F238E27FC236}">
                <a16:creationId xmlns:a16="http://schemas.microsoft.com/office/drawing/2014/main" id="{88B6DC51-189F-40AB-98D3-0693A1237245}"/>
              </a:ext>
            </a:extLst>
          </p:cNvPr>
          <p:cNvSpPr txBox="1">
            <a:spLocks/>
          </p:cNvSpPr>
          <p:nvPr/>
        </p:nvSpPr>
        <p:spPr>
          <a:xfrm>
            <a:off x="450624" y="247613"/>
            <a:ext cx="8729095" cy="3164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08491" rtl="0" eaLnBrk="1" latinLnBrk="0" hangingPunct="1">
              <a:spcBef>
                <a:spcPts val="0"/>
              </a:spcBef>
              <a:spcAft>
                <a:spcPts val="272"/>
              </a:spcAft>
              <a:buClr>
                <a:schemeClr val="tx2"/>
              </a:buClr>
              <a:buSzPct val="70000"/>
              <a:buFontTx/>
              <a:buNone/>
              <a:defRPr sz="1633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127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998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63296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26592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 typeface="+mj-lt"/>
              <a:buAutoNum type="arabicPeriod"/>
              <a:defRPr sz="907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98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chemeClr val="accent5"/>
                </a:solidFill>
                <a:latin typeface="Arial" panose="020B0604020202020204" pitchFamily="34" charset="0"/>
              </a:rPr>
              <a:t>Повышение финансовой самостоятельности регионов</a:t>
            </a:r>
            <a:endParaRPr lang="en-US" sz="2000" b="1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480904" y="4332326"/>
            <a:ext cx="8244000" cy="10236"/>
          </a:xfrm>
          <a:prstGeom prst="line">
            <a:avLst/>
          </a:prstGeom>
          <a:noFill/>
          <a:ln w="6350" cap="flat" cmpd="sng" algn="ctr">
            <a:solidFill>
              <a:schemeClr val="accent5"/>
            </a:solidFill>
            <a:prstDash val="dash"/>
            <a:miter lim="800000"/>
          </a:ln>
          <a:effectLst/>
        </p:spPr>
      </p:cxnSp>
      <p:sp>
        <p:nvSpPr>
          <p:cNvPr id="6" name="Прямоугольник 5"/>
          <p:cNvSpPr/>
          <p:nvPr/>
        </p:nvSpPr>
        <p:spPr>
          <a:xfrm>
            <a:off x="1089319" y="3526307"/>
            <a:ext cx="28743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 2023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году – </a:t>
            </a:r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323,0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лрд. тенге</a:t>
            </a:r>
          </a:p>
          <a:p>
            <a:pPr defTabSz="914436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 2024 году – </a:t>
            </a:r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337</a:t>
            </a:r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,6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лрд. тенге</a:t>
            </a:r>
          </a:p>
          <a:p>
            <a:pPr defTabSz="914436"/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 2025 году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– </a:t>
            </a:r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49,3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лрд. тенге</a:t>
            </a:r>
            <a:endParaRPr lang="ru-RU" sz="1400" i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79">
            <a:extLst>
              <a:ext uri="{FF2B5EF4-FFF2-40B4-BE49-F238E27FC236}">
                <a16:creationId xmlns:a16="http://schemas.microsoft.com/office/drawing/2014/main" id="{2F21068F-F481-48F9-8916-7878C3C9C536}"/>
              </a:ext>
            </a:extLst>
          </p:cNvPr>
          <p:cNvGrpSpPr/>
          <p:nvPr/>
        </p:nvGrpSpPr>
        <p:grpSpPr>
          <a:xfrm flipH="1">
            <a:off x="517401" y="3672888"/>
            <a:ext cx="456157" cy="477296"/>
            <a:chOff x="-3984839" y="2307869"/>
            <a:chExt cx="506413" cy="500215"/>
          </a:xfrm>
          <a:solidFill>
            <a:schemeClr val="accent5"/>
          </a:solidFill>
        </p:grpSpPr>
        <p:grpSp>
          <p:nvGrpSpPr>
            <p:cNvPr id="8" name="Group 80">
              <a:extLst>
                <a:ext uri="{FF2B5EF4-FFF2-40B4-BE49-F238E27FC236}">
                  <a16:creationId xmlns:a16="http://schemas.microsoft.com/office/drawing/2014/main" id="{1AA29580-1668-4820-B1E4-7DCA51785542}"/>
                </a:ext>
              </a:extLst>
            </p:cNvPr>
            <p:cNvGrpSpPr/>
            <p:nvPr/>
          </p:nvGrpSpPr>
          <p:grpSpPr>
            <a:xfrm>
              <a:off x="-3984839" y="2515983"/>
              <a:ext cx="506413" cy="292101"/>
              <a:chOff x="4676776" y="4564063"/>
              <a:chExt cx="506413" cy="292101"/>
            </a:xfrm>
            <a:grpFill/>
          </p:grpSpPr>
          <p:sp>
            <p:nvSpPr>
              <p:cNvPr id="23" name="Freeform 132">
                <a:extLst>
                  <a:ext uri="{FF2B5EF4-FFF2-40B4-BE49-F238E27FC236}">
                    <a16:creationId xmlns:a16="http://schemas.microsoft.com/office/drawing/2014/main" id="{88F361B5-FCC7-4B9D-A174-2FD2B6D651D2}"/>
                  </a:ext>
                </a:extLst>
              </p:cNvPr>
              <p:cNvSpPr/>
              <p:nvPr/>
            </p:nvSpPr>
            <p:spPr bwMode="auto">
              <a:xfrm>
                <a:off x="5060951" y="464502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4" name="Freeform 133">
                <a:extLst>
                  <a:ext uri="{FF2B5EF4-FFF2-40B4-BE49-F238E27FC236}">
                    <a16:creationId xmlns:a16="http://schemas.microsoft.com/office/drawing/2014/main" id="{BC4B0CD4-3A37-4243-AECE-015C13B473A5}"/>
                  </a:ext>
                </a:extLst>
              </p:cNvPr>
              <p:cNvSpPr/>
              <p:nvPr/>
            </p:nvSpPr>
            <p:spPr bwMode="auto">
              <a:xfrm>
                <a:off x="4676776" y="466566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5" name="Freeform 134">
                <a:extLst>
                  <a:ext uri="{FF2B5EF4-FFF2-40B4-BE49-F238E27FC236}">
                    <a16:creationId xmlns:a16="http://schemas.microsoft.com/office/drawing/2014/main" id="{5EF373CB-F1EC-4E10-804D-6B55947307D7}"/>
                  </a:ext>
                </a:extLst>
              </p:cNvPr>
              <p:cNvSpPr/>
              <p:nvPr/>
            </p:nvSpPr>
            <p:spPr bwMode="auto">
              <a:xfrm>
                <a:off x="5060951" y="467677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135">
                <a:extLst>
                  <a:ext uri="{FF2B5EF4-FFF2-40B4-BE49-F238E27FC236}">
                    <a16:creationId xmlns:a16="http://schemas.microsoft.com/office/drawing/2014/main" id="{DA435B41-D01D-4257-8FCF-6C87978C7988}"/>
                  </a:ext>
                </a:extLst>
              </p:cNvPr>
              <p:cNvSpPr/>
              <p:nvPr/>
            </p:nvSpPr>
            <p:spPr bwMode="auto">
              <a:xfrm>
                <a:off x="4676776" y="469741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4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4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136">
                <a:extLst>
                  <a:ext uri="{FF2B5EF4-FFF2-40B4-BE49-F238E27FC236}">
                    <a16:creationId xmlns:a16="http://schemas.microsoft.com/office/drawing/2014/main" id="{27D09C4C-6B98-4400-9B60-3F4CFE0D2458}"/>
                  </a:ext>
                </a:extLst>
              </p:cNvPr>
              <p:cNvSpPr/>
              <p:nvPr/>
            </p:nvSpPr>
            <p:spPr bwMode="auto">
              <a:xfrm>
                <a:off x="5060951" y="4710113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137">
                <a:extLst>
                  <a:ext uri="{FF2B5EF4-FFF2-40B4-BE49-F238E27FC236}">
                    <a16:creationId xmlns:a16="http://schemas.microsoft.com/office/drawing/2014/main" id="{39782FC3-4484-499C-AD62-987268B3B5F5}"/>
                  </a:ext>
                </a:extLst>
              </p:cNvPr>
              <p:cNvSpPr/>
              <p:nvPr/>
            </p:nvSpPr>
            <p:spPr bwMode="auto">
              <a:xfrm>
                <a:off x="4676776" y="4732338"/>
                <a:ext cx="250825" cy="90488"/>
              </a:xfrm>
              <a:custGeom>
                <a:avLst/>
                <a:gdLst>
                  <a:gd name="T0" fmla="*/ 158 w 158"/>
                  <a:gd name="T1" fmla="*/ 38 h 57"/>
                  <a:gd name="T2" fmla="*/ 158 w 158"/>
                  <a:gd name="T3" fmla="*/ 24 h 57"/>
                  <a:gd name="T4" fmla="*/ 83 w 158"/>
                  <a:gd name="T5" fmla="*/ 42 h 57"/>
                  <a:gd name="T6" fmla="*/ 80 w 158"/>
                  <a:gd name="T7" fmla="*/ 43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0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8"/>
                    </a:moveTo>
                    <a:lnTo>
                      <a:pt x="158" y="24"/>
                    </a:lnTo>
                    <a:lnTo>
                      <a:pt x="83" y="42"/>
                    </a:ln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138">
                <a:extLst>
                  <a:ext uri="{FF2B5EF4-FFF2-40B4-BE49-F238E27FC236}">
                    <a16:creationId xmlns:a16="http://schemas.microsoft.com/office/drawing/2014/main" id="{0CFFB8A0-5259-4DA3-938E-F03CA9414C9C}"/>
                  </a:ext>
                </a:extLst>
              </p:cNvPr>
              <p:cNvSpPr/>
              <p:nvPr/>
            </p:nvSpPr>
            <p:spPr bwMode="auto">
              <a:xfrm>
                <a:off x="5060951" y="4745038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139">
                <a:extLst>
                  <a:ext uri="{FF2B5EF4-FFF2-40B4-BE49-F238E27FC236}">
                    <a16:creationId xmlns:a16="http://schemas.microsoft.com/office/drawing/2014/main" id="{0ACCE3A0-981E-4390-9F67-B5B93C8A7CDF}"/>
                  </a:ext>
                </a:extLst>
              </p:cNvPr>
              <p:cNvSpPr/>
              <p:nvPr/>
            </p:nvSpPr>
            <p:spPr bwMode="auto">
              <a:xfrm>
                <a:off x="4676776" y="4765676"/>
                <a:ext cx="250825" cy="90488"/>
              </a:xfrm>
              <a:custGeom>
                <a:avLst/>
                <a:gdLst>
                  <a:gd name="T0" fmla="*/ 83 w 158"/>
                  <a:gd name="T1" fmla="*/ 43 h 57"/>
                  <a:gd name="T2" fmla="*/ 80 w 158"/>
                  <a:gd name="T3" fmla="*/ 43 h 57"/>
                  <a:gd name="T4" fmla="*/ 78 w 158"/>
                  <a:gd name="T5" fmla="*/ 42 h 57"/>
                  <a:gd name="T6" fmla="*/ 0 w 158"/>
                  <a:gd name="T7" fmla="*/ 0 h 57"/>
                  <a:gd name="T8" fmla="*/ 0 w 158"/>
                  <a:gd name="T9" fmla="*/ 1 h 57"/>
                  <a:gd name="T10" fmla="*/ 0 w 158"/>
                  <a:gd name="T11" fmla="*/ 13 h 57"/>
                  <a:gd name="T12" fmla="*/ 81 w 158"/>
                  <a:gd name="T13" fmla="*/ 57 h 57"/>
                  <a:gd name="T14" fmla="*/ 158 w 158"/>
                  <a:gd name="T15" fmla="*/ 39 h 57"/>
                  <a:gd name="T16" fmla="*/ 158 w 158"/>
                  <a:gd name="T17" fmla="*/ 25 h 57"/>
                  <a:gd name="T18" fmla="*/ 83 w 158"/>
                  <a:gd name="T19" fmla="*/ 4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83" y="43"/>
                    </a:move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lnTo>
                      <a:pt x="158" y="25"/>
                    </a:lnTo>
                    <a:lnTo>
                      <a:pt x="83" y="43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140">
                <a:extLst>
                  <a:ext uri="{FF2B5EF4-FFF2-40B4-BE49-F238E27FC236}">
                    <a16:creationId xmlns:a16="http://schemas.microsoft.com/office/drawing/2014/main" id="{564ED330-E24A-4B9C-8912-64AF608DB69F}"/>
                  </a:ext>
                </a:extLst>
              </p:cNvPr>
              <p:cNvSpPr/>
              <p:nvPr/>
            </p:nvSpPr>
            <p:spPr bwMode="auto">
              <a:xfrm>
                <a:off x="4935538" y="4564063"/>
                <a:ext cx="247650" cy="98425"/>
              </a:xfrm>
              <a:custGeom>
                <a:avLst/>
                <a:gdLst>
                  <a:gd name="T0" fmla="*/ 433 w 860"/>
                  <a:gd name="T1" fmla="*/ 331 h 344"/>
                  <a:gd name="T2" fmla="*/ 433 w 860"/>
                  <a:gd name="T3" fmla="*/ 344 h 344"/>
                  <a:gd name="T4" fmla="*/ 860 w 860"/>
                  <a:gd name="T5" fmla="*/ 243 h 344"/>
                  <a:gd name="T6" fmla="*/ 410 w 860"/>
                  <a:gd name="T7" fmla="*/ 0 h 344"/>
                  <a:gd name="T8" fmla="*/ 0 w 860"/>
                  <a:gd name="T9" fmla="*/ 97 h 344"/>
                  <a:gd name="T10" fmla="*/ 55 w 860"/>
                  <a:gd name="T11" fmla="*/ 127 h 344"/>
                  <a:gd name="T12" fmla="*/ 299 w 860"/>
                  <a:gd name="T13" fmla="*/ 69 h 344"/>
                  <a:gd name="T14" fmla="*/ 302 w 860"/>
                  <a:gd name="T15" fmla="*/ 71 h 344"/>
                  <a:gd name="T16" fmla="*/ 384 w 860"/>
                  <a:gd name="T17" fmla="*/ 87 h 344"/>
                  <a:gd name="T18" fmla="*/ 439 w 860"/>
                  <a:gd name="T19" fmla="*/ 81 h 344"/>
                  <a:gd name="T20" fmla="*/ 440 w 860"/>
                  <a:gd name="T21" fmla="*/ 81 h 344"/>
                  <a:gd name="T22" fmla="*/ 667 w 860"/>
                  <a:gd name="T23" fmla="*/ 203 h 344"/>
                  <a:gd name="T24" fmla="*/ 666 w 860"/>
                  <a:gd name="T25" fmla="*/ 203 h 344"/>
                  <a:gd name="T26" fmla="*/ 638 w 860"/>
                  <a:gd name="T27" fmla="*/ 252 h 344"/>
                  <a:gd name="T28" fmla="*/ 638 w 860"/>
                  <a:gd name="T29" fmla="*/ 253 h 344"/>
                  <a:gd name="T30" fmla="*/ 396 w 860"/>
                  <a:gd name="T31" fmla="*/ 310 h 344"/>
                  <a:gd name="T32" fmla="*/ 433 w 860"/>
                  <a:gd name="T33" fmla="*/ 33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0" h="344">
                    <a:moveTo>
                      <a:pt x="433" y="331"/>
                    </a:moveTo>
                    <a:cubicBezTo>
                      <a:pt x="433" y="344"/>
                      <a:pt x="433" y="344"/>
                      <a:pt x="433" y="344"/>
                    </a:cubicBezTo>
                    <a:cubicBezTo>
                      <a:pt x="860" y="243"/>
                      <a:pt x="860" y="243"/>
                      <a:pt x="860" y="243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300" y="70"/>
                      <a:pt x="301" y="70"/>
                      <a:pt x="302" y="71"/>
                    </a:cubicBezTo>
                    <a:cubicBezTo>
                      <a:pt x="321" y="81"/>
                      <a:pt x="352" y="87"/>
                      <a:pt x="384" y="87"/>
                    </a:cubicBezTo>
                    <a:cubicBezTo>
                      <a:pt x="403" y="87"/>
                      <a:pt x="422" y="85"/>
                      <a:pt x="439" y="81"/>
                    </a:cubicBezTo>
                    <a:cubicBezTo>
                      <a:pt x="440" y="81"/>
                      <a:pt x="440" y="81"/>
                      <a:pt x="440" y="81"/>
                    </a:cubicBezTo>
                    <a:cubicBezTo>
                      <a:pt x="667" y="203"/>
                      <a:pt x="667" y="203"/>
                      <a:pt x="667" y="203"/>
                    </a:cubicBezTo>
                    <a:cubicBezTo>
                      <a:pt x="666" y="203"/>
                      <a:pt x="666" y="203"/>
                      <a:pt x="666" y="203"/>
                    </a:cubicBezTo>
                    <a:cubicBezTo>
                      <a:pt x="620" y="214"/>
                      <a:pt x="608" y="236"/>
                      <a:pt x="638" y="252"/>
                    </a:cubicBezTo>
                    <a:cubicBezTo>
                      <a:pt x="638" y="252"/>
                      <a:pt x="638" y="252"/>
                      <a:pt x="638" y="253"/>
                    </a:cubicBezTo>
                    <a:cubicBezTo>
                      <a:pt x="396" y="310"/>
                      <a:pt x="396" y="310"/>
                      <a:pt x="396" y="310"/>
                    </a:cubicBezTo>
                    <a:lnTo>
                      <a:pt x="433" y="331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141">
                <a:extLst>
                  <a:ext uri="{FF2B5EF4-FFF2-40B4-BE49-F238E27FC236}">
                    <a16:creationId xmlns:a16="http://schemas.microsoft.com/office/drawing/2014/main" id="{9733F616-BB16-4A98-A481-02903DB68F35}"/>
                  </a:ext>
                </a:extLst>
              </p:cNvPr>
              <p:cNvSpPr/>
              <p:nvPr/>
            </p:nvSpPr>
            <p:spPr bwMode="auto">
              <a:xfrm>
                <a:off x="4676776" y="4624388"/>
                <a:ext cx="246063" cy="98425"/>
              </a:xfrm>
              <a:custGeom>
                <a:avLst/>
                <a:gdLst>
                  <a:gd name="T0" fmla="*/ 859 w 859"/>
                  <a:gd name="T1" fmla="*/ 243 h 340"/>
                  <a:gd name="T2" fmla="*/ 805 w 859"/>
                  <a:gd name="T3" fmla="*/ 213 h 340"/>
                  <a:gd name="T4" fmla="*/ 565 w 859"/>
                  <a:gd name="T5" fmla="*/ 270 h 340"/>
                  <a:gd name="T6" fmla="*/ 565 w 859"/>
                  <a:gd name="T7" fmla="*/ 270 h 340"/>
                  <a:gd name="T8" fmla="*/ 482 w 859"/>
                  <a:gd name="T9" fmla="*/ 254 h 340"/>
                  <a:gd name="T10" fmla="*/ 427 w 859"/>
                  <a:gd name="T11" fmla="*/ 260 h 340"/>
                  <a:gd name="T12" fmla="*/ 423 w 859"/>
                  <a:gd name="T13" fmla="*/ 261 h 340"/>
                  <a:gd name="T14" fmla="*/ 196 w 859"/>
                  <a:gd name="T15" fmla="*/ 139 h 340"/>
                  <a:gd name="T16" fmla="*/ 201 w 859"/>
                  <a:gd name="T17" fmla="*/ 138 h 340"/>
                  <a:gd name="T18" fmla="*/ 229 w 859"/>
                  <a:gd name="T19" fmla="*/ 88 h 340"/>
                  <a:gd name="T20" fmla="*/ 225 w 859"/>
                  <a:gd name="T21" fmla="*/ 87 h 340"/>
                  <a:gd name="T22" fmla="*/ 464 w 859"/>
                  <a:gd name="T23" fmla="*/ 30 h 340"/>
                  <a:gd name="T24" fmla="*/ 410 w 859"/>
                  <a:gd name="T25" fmla="*/ 0 h 340"/>
                  <a:gd name="T26" fmla="*/ 0 w 859"/>
                  <a:gd name="T27" fmla="*/ 97 h 340"/>
                  <a:gd name="T28" fmla="*/ 450 w 859"/>
                  <a:gd name="T29" fmla="*/ 340 h 340"/>
                  <a:gd name="T30" fmla="*/ 859 w 859"/>
                  <a:gd name="T31" fmla="*/ 243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9" h="340">
                    <a:moveTo>
                      <a:pt x="859" y="243"/>
                    </a:moveTo>
                    <a:cubicBezTo>
                      <a:pt x="805" y="213"/>
                      <a:pt x="805" y="213"/>
                      <a:pt x="805" y="213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46" y="259"/>
                      <a:pt x="514" y="254"/>
                      <a:pt x="482" y="254"/>
                    </a:cubicBezTo>
                    <a:cubicBezTo>
                      <a:pt x="463" y="254"/>
                      <a:pt x="444" y="256"/>
                      <a:pt x="427" y="260"/>
                    </a:cubicBezTo>
                    <a:cubicBezTo>
                      <a:pt x="426" y="260"/>
                      <a:pt x="424" y="261"/>
                      <a:pt x="423" y="261"/>
                    </a:cubicBezTo>
                    <a:cubicBezTo>
                      <a:pt x="196" y="139"/>
                      <a:pt x="196" y="139"/>
                      <a:pt x="196" y="139"/>
                    </a:cubicBezTo>
                    <a:cubicBezTo>
                      <a:pt x="198" y="138"/>
                      <a:pt x="199" y="138"/>
                      <a:pt x="201" y="138"/>
                    </a:cubicBezTo>
                    <a:cubicBezTo>
                      <a:pt x="247" y="127"/>
                      <a:pt x="259" y="105"/>
                      <a:pt x="229" y="88"/>
                    </a:cubicBezTo>
                    <a:cubicBezTo>
                      <a:pt x="228" y="88"/>
                      <a:pt x="226" y="87"/>
                      <a:pt x="225" y="87"/>
                    </a:cubicBezTo>
                    <a:cubicBezTo>
                      <a:pt x="464" y="30"/>
                      <a:pt x="464" y="30"/>
                      <a:pt x="464" y="30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450" y="340"/>
                      <a:pt x="450" y="340"/>
                      <a:pt x="450" y="340"/>
                    </a:cubicBezTo>
                    <a:lnTo>
                      <a:pt x="859" y="243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142">
                <a:extLst>
                  <a:ext uri="{FF2B5EF4-FFF2-40B4-BE49-F238E27FC236}">
                    <a16:creationId xmlns:a16="http://schemas.microsoft.com/office/drawing/2014/main" id="{6F617023-544A-4F24-A5A6-6DC911A57BCA}"/>
                  </a:ext>
                </a:extLst>
              </p:cNvPr>
              <p:cNvSpPr/>
              <p:nvPr/>
            </p:nvSpPr>
            <p:spPr bwMode="auto">
              <a:xfrm>
                <a:off x="4816476" y="4597401"/>
                <a:ext cx="230188" cy="223838"/>
              </a:xfrm>
              <a:custGeom>
                <a:avLst/>
                <a:gdLst>
                  <a:gd name="T0" fmla="*/ 0 w 145"/>
                  <a:gd name="T1" fmla="*/ 16 h 141"/>
                  <a:gd name="T2" fmla="*/ 78 w 145"/>
                  <a:gd name="T3" fmla="*/ 58 h 141"/>
                  <a:gd name="T4" fmla="*/ 78 w 145"/>
                  <a:gd name="T5" fmla="*/ 141 h 141"/>
                  <a:gd name="T6" fmla="*/ 145 w 145"/>
                  <a:gd name="T7" fmla="*/ 125 h 141"/>
                  <a:gd name="T8" fmla="*/ 145 w 145"/>
                  <a:gd name="T9" fmla="*/ 43 h 141"/>
                  <a:gd name="T10" fmla="*/ 66 w 145"/>
                  <a:gd name="T11" fmla="*/ 0 h 141"/>
                  <a:gd name="T12" fmla="*/ 0 w 145"/>
                  <a:gd name="T13" fmla="*/ 1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41">
                    <a:moveTo>
                      <a:pt x="0" y="16"/>
                    </a:moveTo>
                    <a:lnTo>
                      <a:pt x="78" y="58"/>
                    </a:lnTo>
                    <a:lnTo>
                      <a:pt x="78" y="141"/>
                    </a:lnTo>
                    <a:lnTo>
                      <a:pt x="145" y="125"/>
                    </a:lnTo>
                    <a:lnTo>
                      <a:pt x="145" y="43"/>
                    </a:lnTo>
                    <a:lnTo>
                      <a:pt x="66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Group 81">
              <a:extLst>
                <a:ext uri="{FF2B5EF4-FFF2-40B4-BE49-F238E27FC236}">
                  <a16:creationId xmlns:a16="http://schemas.microsoft.com/office/drawing/2014/main" id="{8419ED52-FE0D-4E95-A942-9C3BAC1A7659}"/>
                </a:ext>
              </a:extLst>
            </p:cNvPr>
            <p:cNvGrpSpPr/>
            <p:nvPr/>
          </p:nvGrpSpPr>
          <p:grpSpPr>
            <a:xfrm>
              <a:off x="-3931341" y="2307869"/>
              <a:ext cx="292100" cy="279400"/>
              <a:chOff x="-3931341" y="2307869"/>
              <a:chExt cx="292100" cy="279400"/>
            </a:xfrm>
            <a:grpFill/>
          </p:grpSpPr>
          <p:sp>
            <p:nvSpPr>
              <p:cNvPr id="10" name="Freeform 1236">
                <a:extLst>
                  <a:ext uri="{FF2B5EF4-FFF2-40B4-BE49-F238E27FC236}">
                    <a16:creationId xmlns:a16="http://schemas.microsoft.com/office/drawing/2014/main" id="{EEB15F29-B23E-421B-AFB3-083BCDA1916F}"/>
                  </a:ext>
                </a:extLst>
              </p:cNvPr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-3815803" y="2502305"/>
                <a:ext cx="61024" cy="3104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12"/>
                  </a:cxn>
                  <a:cxn ang="0">
                    <a:pos x="20" y="16"/>
                  </a:cxn>
                  <a:cxn ang="0">
                    <a:pos x="32" y="15"/>
                  </a:cxn>
                  <a:cxn ang="0">
                    <a:pos x="32" y="2"/>
                  </a:cxn>
                  <a:cxn ang="0">
                    <a:pos x="20" y="3"/>
                  </a:cxn>
                </a:cxnLst>
                <a:rect l="0" t="0" r="r" b="b"/>
                <a:pathLst>
                  <a:path w="32" h="16">
                    <a:moveTo>
                      <a:pt x="20" y="3"/>
                    </a:moveTo>
                    <a:cubicBezTo>
                      <a:pt x="13" y="3"/>
                      <a:pt x="7" y="2"/>
                      <a:pt x="2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3"/>
                      <a:pt x="0" y="7"/>
                      <a:pt x="0" y="12"/>
                    </a:cubicBezTo>
                    <a:cubicBezTo>
                      <a:pt x="5" y="14"/>
                      <a:pt x="12" y="16"/>
                      <a:pt x="20" y="16"/>
                    </a:cubicBezTo>
                    <a:cubicBezTo>
                      <a:pt x="24" y="16"/>
                      <a:pt x="29" y="15"/>
                      <a:pt x="32" y="15"/>
                    </a:cubicBezTo>
                    <a:cubicBezTo>
                      <a:pt x="32" y="12"/>
                      <a:pt x="32" y="8"/>
                      <a:pt x="32" y="2"/>
                    </a:cubicBezTo>
                    <a:cubicBezTo>
                      <a:pt x="28" y="3"/>
                      <a:pt x="24" y="3"/>
                      <a:pt x="2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1" name="Freeform 1237">
                <a:extLst>
                  <a:ext uri="{FF2B5EF4-FFF2-40B4-BE49-F238E27FC236}">
                    <a16:creationId xmlns:a16="http://schemas.microsoft.com/office/drawing/2014/main" id="{6F9CCF43-1070-45C1-AAFB-3206E082DE06}"/>
                  </a:ext>
                </a:extLst>
              </p:cNvPr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-3829635" y="2307869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3"/>
                      <a:pt x="3" y="5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2" name="Freeform 1238">
                <a:extLst>
                  <a:ext uri="{FF2B5EF4-FFF2-40B4-BE49-F238E27FC236}">
                    <a16:creationId xmlns:a16="http://schemas.microsoft.com/office/drawing/2014/main" id="{1FFBC231-A01B-47ED-BA39-E79B54C8D9FF}"/>
                  </a:ext>
                </a:extLst>
              </p:cNvPr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-3829635" y="2346266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8"/>
                      <a:pt x="54" y="6"/>
                      <a:pt x="54" y="5"/>
                    </a:cubicBezTo>
                    <a:cubicBezTo>
                      <a:pt x="54" y="3"/>
                      <a:pt x="54" y="2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6"/>
                      <a:pt x="0" y="7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3" name="Freeform 1239">
                <a:extLst>
                  <a:ext uri="{FF2B5EF4-FFF2-40B4-BE49-F238E27FC236}">
                    <a16:creationId xmlns:a16="http://schemas.microsoft.com/office/drawing/2014/main" id="{51ECC0BC-AB6B-4C19-98F6-FF0D149F8928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-3829635" y="2380578"/>
                <a:ext cx="104147" cy="408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42" y="15"/>
                  </a:cxn>
                  <a:cxn ang="0">
                    <a:pos x="50" y="10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1">
                    <a:moveTo>
                      <a:pt x="7" y="18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40" y="18"/>
                      <a:pt x="41" y="16"/>
                      <a:pt x="42" y="15"/>
                    </a:cubicBezTo>
                    <a:cubicBezTo>
                      <a:pt x="44" y="13"/>
                      <a:pt x="47" y="11"/>
                      <a:pt x="50" y="10"/>
                    </a:cubicBezTo>
                    <a:cubicBezTo>
                      <a:pt x="51" y="9"/>
                      <a:pt x="53" y="9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5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4" name="Freeform 1240">
                <a:extLst>
                  <a:ext uri="{FF2B5EF4-FFF2-40B4-BE49-F238E27FC236}">
                    <a16:creationId xmlns:a16="http://schemas.microsoft.com/office/drawing/2014/main" id="{3F5B2D18-DBB6-429E-811A-6FFCA5BE8BB0}"/>
                  </a:ext>
                </a:extLst>
              </p:cNvPr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-3829635" y="2419792"/>
                <a:ext cx="74856" cy="40031"/>
              </a:xfrm>
              <a:custGeom>
                <a:avLst/>
                <a:gdLst/>
                <a:ahLst/>
                <a:cxnLst>
                  <a:cxn ang="0">
                    <a:pos x="7" y="17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39" y="6"/>
                  </a:cxn>
                  <a:cxn ang="0">
                    <a:pos x="27" y="7"/>
                  </a:cxn>
                  <a:cxn ang="0">
                    <a:pos x="9" y="4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</a:cxnLst>
                <a:rect l="0" t="0" r="r" b="b"/>
                <a:pathLst>
                  <a:path w="39" h="21">
                    <a:moveTo>
                      <a:pt x="7" y="17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39" y="14"/>
                      <a:pt x="39" y="9"/>
                      <a:pt x="39" y="6"/>
                    </a:cubicBezTo>
                    <a:cubicBezTo>
                      <a:pt x="35" y="7"/>
                      <a:pt x="31" y="7"/>
                      <a:pt x="27" y="7"/>
                    </a:cubicBezTo>
                    <a:cubicBezTo>
                      <a:pt x="20" y="7"/>
                      <a:pt x="14" y="6"/>
                      <a:pt x="9" y="4"/>
                    </a:cubicBezTo>
                    <a:cubicBezTo>
                      <a:pt x="5" y="3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5" name="Freeform 1241">
                <a:extLst>
                  <a:ext uri="{FF2B5EF4-FFF2-40B4-BE49-F238E27FC236}">
                    <a16:creationId xmlns:a16="http://schemas.microsoft.com/office/drawing/2014/main" id="{FD562429-6F4C-4DA6-9519-C424A8E44985}"/>
                  </a:ext>
                </a:extLst>
              </p:cNvPr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-3829635" y="2456556"/>
                <a:ext cx="74856" cy="4166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39" y="21"/>
                  </a:cxn>
                  <a:cxn ang="0">
                    <a:pos x="39" y="6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4" y="13"/>
                  </a:cxn>
                </a:cxnLst>
                <a:rect l="0" t="0" r="r" b="b"/>
                <a:pathLst>
                  <a:path w="39" h="22">
                    <a:moveTo>
                      <a:pt x="4" y="13"/>
                    </a:moveTo>
                    <a:cubicBezTo>
                      <a:pt x="5" y="14"/>
                      <a:pt x="6" y="16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1" y="22"/>
                      <a:pt x="36" y="21"/>
                      <a:pt x="39" y="21"/>
                    </a:cubicBezTo>
                    <a:cubicBezTo>
                      <a:pt x="39" y="16"/>
                      <a:pt x="39" y="11"/>
                      <a:pt x="39" y="6"/>
                    </a:cubicBezTo>
                    <a:cubicBezTo>
                      <a:pt x="35" y="7"/>
                      <a:pt x="31" y="8"/>
                      <a:pt x="27" y="8"/>
                    </a:cubicBezTo>
                    <a:cubicBezTo>
                      <a:pt x="20" y="8"/>
                      <a:pt x="14" y="7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7"/>
                      <a:pt x="0" y="9"/>
                    </a:cubicBezTo>
                    <a:cubicBezTo>
                      <a:pt x="1" y="10"/>
                      <a:pt x="3" y="11"/>
                      <a:pt x="4" y="1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6" name="Freeform 1242">
                <a:extLst>
                  <a:ext uri="{FF2B5EF4-FFF2-40B4-BE49-F238E27FC236}">
                    <a16:creationId xmlns:a16="http://schemas.microsoft.com/office/drawing/2014/main" id="{0033DED6-DA52-4F77-A1DB-A8F4BB820FA4}"/>
                  </a:ext>
                </a:extLst>
              </p:cNvPr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-3743388" y="2475346"/>
                <a:ext cx="104147" cy="42482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1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2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1"/>
                    </a:cubicBezTo>
                    <a:cubicBezTo>
                      <a:pt x="0" y="4"/>
                      <a:pt x="0" y="8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8"/>
                      <a:pt x="54" y="4"/>
                      <a:pt x="54" y="0"/>
                    </a:cubicBezTo>
                    <a:cubicBezTo>
                      <a:pt x="53" y="2"/>
                      <a:pt x="51" y="3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7" name="Freeform 1243">
                <a:extLst>
                  <a:ext uri="{FF2B5EF4-FFF2-40B4-BE49-F238E27FC236}">
                    <a16:creationId xmlns:a16="http://schemas.microsoft.com/office/drawing/2014/main" id="{71959BF6-EFD0-44FE-A3E9-19577F73B925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-3743388" y="2441033"/>
                <a:ext cx="104147" cy="38397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9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0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3"/>
                      <a:pt x="0" y="6"/>
                      <a:pt x="0" y="9"/>
                    </a:cubicBezTo>
                    <a:cubicBezTo>
                      <a:pt x="0" y="10"/>
                      <a:pt x="0" y="11"/>
                      <a:pt x="1" y="13"/>
                    </a:cubicBezTo>
                    <a:cubicBezTo>
                      <a:pt x="3" y="14"/>
                      <a:pt x="4" y="15"/>
                      <a:pt x="7" y="16"/>
                    </a:cubicBezTo>
                    <a:cubicBezTo>
                      <a:pt x="12" y="19"/>
                      <a:pt x="19" y="20"/>
                      <a:pt x="27" y="20"/>
                    </a:cubicBezTo>
                    <a:cubicBezTo>
                      <a:pt x="33" y="20"/>
                      <a:pt x="39" y="19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6"/>
                      <a:pt x="54" y="3"/>
                      <a:pt x="54" y="0"/>
                    </a:cubicBezTo>
                    <a:cubicBezTo>
                      <a:pt x="53" y="2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8" name="Freeform 1244">
                <a:extLst>
                  <a:ext uri="{FF2B5EF4-FFF2-40B4-BE49-F238E27FC236}">
                    <a16:creationId xmlns:a16="http://schemas.microsoft.com/office/drawing/2014/main" id="{482EBCB0-7A7E-4F72-B2C2-D4A4345161C5}"/>
                  </a:ext>
                </a:extLst>
              </p:cNvPr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-3743388" y="2513743"/>
                <a:ext cx="104147" cy="40848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3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1">
                    <a:moveTo>
                      <a:pt x="50" y="3"/>
                    </a:moveTo>
                    <a:cubicBezTo>
                      <a:pt x="44" y="6"/>
                      <a:pt x="36" y="7"/>
                      <a:pt x="27" y="7"/>
                    </a:cubicBezTo>
                    <a:cubicBezTo>
                      <a:pt x="21" y="7"/>
                      <a:pt x="15" y="6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3"/>
                    </a:cubicBezTo>
                    <a:cubicBezTo>
                      <a:pt x="3" y="14"/>
                      <a:pt x="4" y="16"/>
                      <a:pt x="7" y="17"/>
                    </a:cubicBezTo>
                    <a:cubicBezTo>
                      <a:pt x="12" y="19"/>
                      <a:pt x="19" y="21"/>
                      <a:pt x="27" y="21"/>
                    </a:cubicBezTo>
                    <a:cubicBezTo>
                      <a:pt x="33" y="21"/>
                      <a:pt x="39" y="20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19" name="Freeform 1245">
                <a:extLst>
                  <a:ext uri="{FF2B5EF4-FFF2-40B4-BE49-F238E27FC236}">
                    <a16:creationId xmlns:a16="http://schemas.microsoft.com/office/drawing/2014/main" id="{3FCE66B0-73F2-4499-BED9-9E3EA2040111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-3743388" y="2401819"/>
                <a:ext cx="104147" cy="42482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" y="8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5"/>
                  </a:cxn>
                  <a:cxn ang="0">
                    <a:pos x="54" y="11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</a:cxnLst>
                <a:rect l="0" t="0" r="r" b="b"/>
                <a:pathLst>
                  <a:path w="54" h="22">
                    <a:moveTo>
                      <a:pt x="11" y="2"/>
                    </a:moveTo>
                    <a:cubicBezTo>
                      <a:pt x="7" y="4"/>
                      <a:pt x="3" y="6"/>
                      <a:pt x="1" y="8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5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1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9"/>
                      <a:pt x="51" y="17"/>
                      <a:pt x="53" y="15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8"/>
                    </a:cubicBezTo>
                    <a:cubicBezTo>
                      <a:pt x="52" y="6"/>
                      <a:pt x="50" y="5"/>
                      <a:pt x="47" y="4"/>
                    </a:cubicBezTo>
                    <a:cubicBezTo>
                      <a:pt x="42" y="2"/>
                      <a:pt x="35" y="0"/>
                      <a:pt x="27" y="0"/>
                    </a:cubicBezTo>
                    <a:cubicBezTo>
                      <a:pt x="21" y="0"/>
                      <a:pt x="16" y="1"/>
                      <a:pt x="11" y="2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0" name="Freeform 1246">
                <a:extLst>
                  <a:ext uri="{FF2B5EF4-FFF2-40B4-BE49-F238E27FC236}">
                    <a16:creationId xmlns:a16="http://schemas.microsoft.com/office/drawing/2014/main" id="{04504CAD-0170-48CC-8691-4149B096187E}"/>
                  </a:ext>
                </a:extLst>
              </p:cNvPr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-3931341" y="2547238"/>
                <a:ext cx="104147" cy="40031"/>
              </a:xfrm>
              <a:custGeom>
                <a:avLst/>
                <a:gdLst/>
                <a:ahLst/>
                <a:cxnLst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49" y="3"/>
                  </a:cxn>
                </a:cxnLst>
                <a:rect l="0" t="0" r="r" b="b"/>
                <a:pathLst>
                  <a:path w="54" h="21">
                    <a:moveTo>
                      <a:pt x="49" y="3"/>
                    </a:move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ubicBezTo>
                      <a:pt x="12" y="20"/>
                      <a:pt x="19" y="21"/>
                      <a:pt x="27" y="21"/>
                    </a:cubicBezTo>
                    <a:cubicBezTo>
                      <a:pt x="33" y="21"/>
                      <a:pt x="38" y="20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1" name="Freeform 1247">
                <a:extLst>
                  <a:ext uri="{FF2B5EF4-FFF2-40B4-BE49-F238E27FC236}">
                    <a16:creationId xmlns:a16="http://schemas.microsoft.com/office/drawing/2014/main" id="{B42A1E74-EBBC-4413-B5D4-67AA04EBBF1A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-3931341" y="2473712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20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4"/>
                      <a:pt x="3" y="6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2" name="Freeform 1248">
                <a:extLst>
                  <a:ext uri="{FF2B5EF4-FFF2-40B4-BE49-F238E27FC236}">
                    <a16:creationId xmlns:a16="http://schemas.microsoft.com/office/drawing/2014/main" id="{D34AC417-3F66-4F74-B018-0F2C7E94980C}"/>
                  </a:ext>
                </a:extLst>
              </p:cNvPr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-3931341" y="2512109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9"/>
                      <a:pt x="54" y="8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0" y="4"/>
                      <a:pt x="0" y="7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5" name="TextBox 34"/>
          <p:cNvSpPr txBox="1"/>
          <p:nvPr/>
        </p:nvSpPr>
        <p:spPr>
          <a:xfrm>
            <a:off x="572454" y="4428803"/>
            <a:ext cx="20379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36"/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ЖИДАЕМЫЙ </a:t>
            </a:r>
          </a:p>
          <a:p>
            <a:pPr algn="ctr" defTabSz="914436"/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ЭФФЕКТ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3512209" y="4385621"/>
            <a:ext cx="511097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>
              <a:spcAft>
                <a:spcPts val="4800"/>
              </a:spcAft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тимулирование региональной экономики и МСБ </a:t>
            </a:r>
          </a:p>
        </p:txBody>
      </p:sp>
      <p:sp>
        <p:nvSpPr>
          <p:cNvPr id="67" name="Shape 1871"/>
          <p:cNvSpPr>
            <a:spLocks/>
          </p:cNvSpPr>
          <p:nvPr/>
        </p:nvSpPr>
        <p:spPr bwMode="auto">
          <a:xfrm>
            <a:off x="3071695" y="4406976"/>
            <a:ext cx="299485" cy="223357"/>
          </a:xfrm>
          <a:custGeom>
            <a:avLst/>
            <a:gdLst>
              <a:gd name="T0" fmla="*/ 96316841 w 21600"/>
              <a:gd name="T1" fmla="*/ 50905084 h 21600"/>
              <a:gd name="T2" fmla="*/ 96316841 w 21600"/>
              <a:gd name="T3" fmla="*/ 50905084 h 21600"/>
              <a:gd name="T4" fmla="*/ 96316841 w 21600"/>
              <a:gd name="T5" fmla="*/ 50905084 h 21600"/>
              <a:gd name="T6" fmla="*/ 96316841 w 21600"/>
              <a:gd name="T7" fmla="*/ 50905084 h 21600"/>
              <a:gd name="T8" fmla="*/ 0 60000 65536"/>
              <a:gd name="T9" fmla="*/ 5898240 60000 65536"/>
              <a:gd name="T10" fmla="*/ 11796480 60000 65536"/>
              <a:gd name="T11" fmla="*/ 1769472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1600" h="21600" extrusionOk="0">
                <a:moveTo>
                  <a:pt x="15853" y="21600"/>
                </a:moveTo>
                <a:cubicBezTo>
                  <a:pt x="17042" y="21600"/>
                  <a:pt x="17042" y="21600"/>
                  <a:pt x="17042" y="21600"/>
                </a:cubicBezTo>
                <a:cubicBezTo>
                  <a:pt x="17042" y="10800"/>
                  <a:pt x="17042" y="10800"/>
                  <a:pt x="17042" y="10800"/>
                </a:cubicBezTo>
                <a:cubicBezTo>
                  <a:pt x="16646" y="10800"/>
                  <a:pt x="16646" y="10800"/>
                  <a:pt x="16646" y="10800"/>
                </a:cubicBezTo>
                <a:cubicBezTo>
                  <a:pt x="16250" y="17182"/>
                  <a:pt x="16250" y="17182"/>
                  <a:pt x="16250" y="17182"/>
                </a:cubicBezTo>
                <a:cubicBezTo>
                  <a:pt x="15853" y="17427"/>
                  <a:pt x="15853" y="17427"/>
                  <a:pt x="15853" y="17427"/>
                </a:cubicBezTo>
                <a:cubicBezTo>
                  <a:pt x="15853" y="21600"/>
                  <a:pt x="15853" y="21600"/>
                  <a:pt x="15853" y="21600"/>
                </a:cubicBezTo>
                <a:close/>
                <a:moveTo>
                  <a:pt x="21600" y="0"/>
                </a:moveTo>
                <a:cubicBezTo>
                  <a:pt x="19817" y="4173"/>
                  <a:pt x="19817" y="4173"/>
                  <a:pt x="19817" y="4173"/>
                </a:cubicBezTo>
                <a:cubicBezTo>
                  <a:pt x="18231" y="8100"/>
                  <a:pt x="18231" y="8100"/>
                  <a:pt x="18231" y="8100"/>
                </a:cubicBezTo>
                <a:cubicBezTo>
                  <a:pt x="16646" y="5400"/>
                  <a:pt x="16646" y="5400"/>
                  <a:pt x="16646" y="5400"/>
                </a:cubicBezTo>
                <a:cubicBezTo>
                  <a:pt x="15853" y="6136"/>
                  <a:pt x="15853" y="6136"/>
                  <a:pt x="15853" y="6136"/>
                </a:cubicBezTo>
                <a:cubicBezTo>
                  <a:pt x="15259" y="15709"/>
                  <a:pt x="15259" y="15709"/>
                  <a:pt x="15259" y="15709"/>
                </a:cubicBezTo>
                <a:cubicBezTo>
                  <a:pt x="13277" y="16691"/>
                  <a:pt x="13277" y="16691"/>
                  <a:pt x="13277" y="16691"/>
                </a:cubicBezTo>
                <a:cubicBezTo>
                  <a:pt x="9512" y="12273"/>
                  <a:pt x="9512" y="12273"/>
                  <a:pt x="9512" y="12273"/>
                </a:cubicBezTo>
                <a:cubicBezTo>
                  <a:pt x="7332" y="17918"/>
                  <a:pt x="7332" y="17918"/>
                  <a:pt x="7332" y="17918"/>
                </a:cubicBezTo>
                <a:cubicBezTo>
                  <a:pt x="5152" y="17918"/>
                  <a:pt x="5152" y="17918"/>
                  <a:pt x="5152" y="17918"/>
                </a:cubicBezTo>
                <a:cubicBezTo>
                  <a:pt x="3765" y="15464"/>
                  <a:pt x="3765" y="15464"/>
                  <a:pt x="3765" y="15464"/>
                </a:cubicBezTo>
                <a:cubicBezTo>
                  <a:pt x="793" y="16445"/>
                  <a:pt x="793" y="16445"/>
                  <a:pt x="793" y="16445"/>
                </a:cubicBezTo>
                <a:cubicBezTo>
                  <a:pt x="0" y="13745"/>
                  <a:pt x="0" y="13745"/>
                  <a:pt x="0" y="13745"/>
                </a:cubicBezTo>
                <a:cubicBezTo>
                  <a:pt x="3963" y="12273"/>
                  <a:pt x="3963" y="12273"/>
                  <a:pt x="3963" y="12273"/>
                </a:cubicBezTo>
                <a:cubicBezTo>
                  <a:pt x="4954" y="11782"/>
                  <a:pt x="4954" y="11782"/>
                  <a:pt x="4954" y="11782"/>
                </a:cubicBezTo>
                <a:cubicBezTo>
                  <a:pt x="5350" y="12764"/>
                  <a:pt x="5350" y="12764"/>
                  <a:pt x="5350" y="12764"/>
                </a:cubicBezTo>
                <a:cubicBezTo>
                  <a:pt x="5945" y="13991"/>
                  <a:pt x="5945" y="13991"/>
                  <a:pt x="5945" y="13991"/>
                </a:cubicBezTo>
                <a:cubicBezTo>
                  <a:pt x="7927" y="9082"/>
                  <a:pt x="7927" y="9082"/>
                  <a:pt x="7927" y="9082"/>
                </a:cubicBezTo>
                <a:cubicBezTo>
                  <a:pt x="8719" y="7118"/>
                  <a:pt x="8719" y="7118"/>
                  <a:pt x="8719" y="7118"/>
                </a:cubicBezTo>
                <a:cubicBezTo>
                  <a:pt x="9908" y="8591"/>
                  <a:pt x="9908" y="8591"/>
                  <a:pt x="9908" y="8591"/>
                </a:cubicBezTo>
                <a:cubicBezTo>
                  <a:pt x="13079" y="12273"/>
                  <a:pt x="13079" y="12273"/>
                  <a:pt x="13079" y="12273"/>
                </a:cubicBezTo>
                <a:cubicBezTo>
                  <a:pt x="13475" y="5155"/>
                  <a:pt x="13475" y="5155"/>
                  <a:pt x="13475" y="5155"/>
                </a:cubicBezTo>
                <a:cubicBezTo>
                  <a:pt x="13475" y="4418"/>
                  <a:pt x="13475" y="4418"/>
                  <a:pt x="13475" y="4418"/>
                </a:cubicBezTo>
                <a:cubicBezTo>
                  <a:pt x="14070" y="3927"/>
                  <a:pt x="14070" y="3927"/>
                  <a:pt x="14070" y="3927"/>
                </a:cubicBezTo>
                <a:cubicBezTo>
                  <a:pt x="15457" y="2945"/>
                  <a:pt x="15457" y="2945"/>
                  <a:pt x="15457" y="2945"/>
                </a:cubicBezTo>
                <a:cubicBezTo>
                  <a:pt x="14268" y="491"/>
                  <a:pt x="14268" y="491"/>
                  <a:pt x="14268" y="491"/>
                </a:cubicBezTo>
                <a:cubicBezTo>
                  <a:pt x="17835" y="245"/>
                  <a:pt x="17835" y="245"/>
                  <a:pt x="17835" y="245"/>
                </a:cubicBezTo>
                <a:cubicBezTo>
                  <a:pt x="21600" y="0"/>
                  <a:pt x="21600" y="0"/>
                  <a:pt x="21600" y="0"/>
                </a:cubicBezTo>
                <a:close/>
                <a:moveTo>
                  <a:pt x="4360" y="21600"/>
                </a:moveTo>
                <a:cubicBezTo>
                  <a:pt x="4756" y="21600"/>
                  <a:pt x="5350" y="21600"/>
                  <a:pt x="5747" y="21600"/>
                </a:cubicBezTo>
                <a:cubicBezTo>
                  <a:pt x="5747" y="19636"/>
                  <a:pt x="5747" y="19636"/>
                  <a:pt x="5747" y="19636"/>
                </a:cubicBezTo>
                <a:cubicBezTo>
                  <a:pt x="4558" y="19882"/>
                  <a:pt x="4558" y="19882"/>
                  <a:pt x="4558" y="19882"/>
                </a:cubicBezTo>
                <a:cubicBezTo>
                  <a:pt x="4360" y="19391"/>
                  <a:pt x="4360" y="19391"/>
                  <a:pt x="4360" y="19391"/>
                </a:cubicBezTo>
                <a:cubicBezTo>
                  <a:pt x="4360" y="21600"/>
                  <a:pt x="4360" y="21600"/>
                  <a:pt x="4360" y="21600"/>
                </a:cubicBezTo>
                <a:close/>
                <a:moveTo>
                  <a:pt x="2180" y="21600"/>
                </a:moveTo>
                <a:cubicBezTo>
                  <a:pt x="3369" y="21600"/>
                  <a:pt x="3369" y="21600"/>
                  <a:pt x="3369" y="21600"/>
                </a:cubicBezTo>
                <a:cubicBezTo>
                  <a:pt x="3369" y="17427"/>
                  <a:pt x="3369" y="17427"/>
                  <a:pt x="3369" y="17427"/>
                </a:cubicBezTo>
                <a:cubicBezTo>
                  <a:pt x="3369" y="17427"/>
                  <a:pt x="3369" y="17427"/>
                  <a:pt x="3369" y="17427"/>
                </a:cubicBezTo>
                <a:cubicBezTo>
                  <a:pt x="2180" y="17918"/>
                  <a:pt x="2180" y="17918"/>
                  <a:pt x="2180" y="17918"/>
                </a:cubicBezTo>
                <a:cubicBezTo>
                  <a:pt x="2180" y="21600"/>
                  <a:pt x="2180" y="21600"/>
                  <a:pt x="2180" y="21600"/>
                </a:cubicBezTo>
                <a:close/>
                <a:moveTo>
                  <a:pt x="6738" y="21600"/>
                </a:moveTo>
                <a:cubicBezTo>
                  <a:pt x="7134" y="21600"/>
                  <a:pt x="7530" y="21600"/>
                  <a:pt x="7927" y="21600"/>
                </a:cubicBezTo>
                <a:cubicBezTo>
                  <a:pt x="7927" y="19391"/>
                  <a:pt x="7927" y="19391"/>
                  <a:pt x="7927" y="19391"/>
                </a:cubicBezTo>
                <a:cubicBezTo>
                  <a:pt x="7927" y="19636"/>
                  <a:pt x="7927" y="19636"/>
                  <a:pt x="7927" y="19636"/>
                </a:cubicBezTo>
                <a:cubicBezTo>
                  <a:pt x="6738" y="19636"/>
                  <a:pt x="6738" y="19636"/>
                  <a:pt x="6738" y="19636"/>
                </a:cubicBezTo>
                <a:cubicBezTo>
                  <a:pt x="6738" y="21600"/>
                  <a:pt x="6738" y="21600"/>
                  <a:pt x="6738" y="21600"/>
                </a:cubicBezTo>
                <a:close/>
                <a:moveTo>
                  <a:pt x="8917" y="21600"/>
                </a:moveTo>
                <a:cubicBezTo>
                  <a:pt x="9314" y="21600"/>
                  <a:pt x="9908" y="21600"/>
                  <a:pt x="10305" y="21600"/>
                </a:cubicBezTo>
                <a:cubicBezTo>
                  <a:pt x="10305" y="15464"/>
                  <a:pt x="10305" y="15464"/>
                  <a:pt x="10305" y="15464"/>
                </a:cubicBezTo>
                <a:cubicBezTo>
                  <a:pt x="9710" y="14727"/>
                  <a:pt x="9710" y="14727"/>
                  <a:pt x="9710" y="14727"/>
                </a:cubicBezTo>
                <a:cubicBezTo>
                  <a:pt x="8917" y="16936"/>
                  <a:pt x="8917" y="16936"/>
                  <a:pt x="8917" y="16936"/>
                </a:cubicBezTo>
                <a:cubicBezTo>
                  <a:pt x="8917" y="21600"/>
                  <a:pt x="8917" y="21600"/>
                  <a:pt x="8917" y="21600"/>
                </a:cubicBezTo>
                <a:close/>
                <a:moveTo>
                  <a:pt x="11295" y="21600"/>
                </a:moveTo>
                <a:cubicBezTo>
                  <a:pt x="11692" y="21600"/>
                  <a:pt x="12088" y="21600"/>
                  <a:pt x="12484" y="21600"/>
                </a:cubicBezTo>
                <a:cubicBezTo>
                  <a:pt x="12484" y="17918"/>
                  <a:pt x="12484" y="17918"/>
                  <a:pt x="12484" y="17918"/>
                </a:cubicBezTo>
                <a:cubicBezTo>
                  <a:pt x="11295" y="16445"/>
                  <a:pt x="11295" y="16445"/>
                  <a:pt x="11295" y="16445"/>
                </a:cubicBezTo>
                <a:cubicBezTo>
                  <a:pt x="11295" y="21600"/>
                  <a:pt x="11295" y="21600"/>
                  <a:pt x="11295" y="21600"/>
                </a:cubicBezTo>
                <a:close/>
                <a:moveTo>
                  <a:pt x="13475" y="21600"/>
                </a:moveTo>
                <a:cubicBezTo>
                  <a:pt x="13872" y="21600"/>
                  <a:pt x="14466" y="21600"/>
                  <a:pt x="14862" y="21600"/>
                </a:cubicBezTo>
                <a:cubicBezTo>
                  <a:pt x="14862" y="17673"/>
                  <a:pt x="14862" y="17673"/>
                  <a:pt x="14862" y="17673"/>
                </a:cubicBezTo>
                <a:cubicBezTo>
                  <a:pt x="13475" y="18409"/>
                  <a:pt x="13475" y="18409"/>
                  <a:pt x="13475" y="18409"/>
                </a:cubicBezTo>
                <a:lnTo>
                  <a:pt x="13475" y="216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lIns="45719" rIns="45719"/>
          <a:lstStyle/>
          <a:p>
            <a:pPr defTabSz="914436"/>
            <a:endParaRPr lang="ru-RU">
              <a:solidFill>
                <a:srgbClr val="0676C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8" name="Group 79">
            <a:extLst>
              <a:ext uri="{FF2B5EF4-FFF2-40B4-BE49-F238E27FC236}">
                <a16:creationId xmlns:a16="http://schemas.microsoft.com/office/drawing/2014/main" id="{2F21068F-F481-48F9-8916-7878C3C9C536}"/>
              </a:ext>
            </a:extLst>
          </p:cNvPr>
          <p:cNvGrpSpPr/>
          <p:nvPr/>
        </p:nvGrpSpPr>
        <p:grpSpPr>
          <a:xfrm flipH="1">
            <a:off x="3071695" y="4770334"/>
            <a:ext cx="294145" cy="304800"/>
            <a:chOff x="-3984839" y="2307869"/>
            <a:chExt cx="506413" cy="500215"/>
          </a:xfrm>
          <a:solidFill>
            <a:schemeClr val="accent5"/>
          </a:solidFill>
        </p:grpSpPr>
        <p:grpSp>
          <p:nvGrpSpPr>
            <p:cNvPr id="40" name="Group 80">
              <a:extLst>
                <a:ext uri="{FF2B5EF4-FFF2-40B4-BE49-F238E27FC236}">
                  <a16:creationId xmlns:a16="http://schemas.microsoft.com/office/drawing/2014/main" id="{1AA29580-1668-4820-B1E4-7DCA51785542}"/>
                </a:ext>
              </a:extLst>
            </p:cNvPr>
            <p:cNvGrpSpPr/>
            <p:nvPr/>
          </p:nvGrpSpPr>
          <p:grpSpPr>
            <a:xfrm>
              <a:off x="-3984839" y="2515983"/>
              <a:ext cx="506413" cy="292101"/>
              <a:chOff x="4676776" y="4564063"/>
              <a:chExt cx="506413" cy="292101"/>
            </a:xfrm>
            <a:grpFill/>
          </p:grpSpPr>
          <p:sp>
            <p:nvSpPr>
              <p:cNvPr id="55" name="Freeform 132">
                <a:extLst>
                  <a:ext uri="{FF2B5EF4-FFF2-40B4-BE49-F238E27FC236}">
                    <a16:creationId xmlns:a16="http://schemas.microsoft.com/office/drawing/2014/main" id="{88F361B5-FCC7-4B9D-A174-2FD2B6D651D2}"/>
                  </a:ext>
                </a:extLst>
              </p:cNvPr>
              <p:cNvSpPr/>
              <p:nvPr/>
            </p:nvSpPr>
            <p:spPr bwMode="auto">
              <a:xfrm>
                <a:off x="5060951" y="464502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133">
                <a:extLst>
                  <a:ext uri="{FF2B5EF4-FFF2-40B4-BE49-F238E27FC236}">
                    <a16:creationId xmlns:a16="http://schemas.microsoft.com/office/drawing/2014/main" id="{BC4B0CD4-3A37-4243-AECE-015C13B473A5}"/>
                  </a:ext>
                </a:extLst>
              </p:cNvPr>
              <p:cNvSpPr/>
              <p:nvPr/>
            </p:nvSpPr>
            <p:spPr bwMode="auto">
              <a:xfrm>
                <a:off x="4676776" y="466566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134">
                <a:extLst>
                  <a:ext uri="{FF2B5EF4-FFF2-40B4-BE49-F238E27FC236}">
                    <a16:creationId xmlns:a16="http://schemas.microsoft.com/office/drawing/2014/main" id="{5EF373CB-F1EC-4E10-804D-6B55947307D7}"/>
                  </a:ext>
                </a:extLst>
              </p:cNvPr>
              <p:cNvSpPr/>
              <p:nvPr/>
            </p:nvSpPr>
            <p:spPr bwMode="auto">
              <a:xfrm>
                <a:off x="5060951" y="4676776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135">
                <a:extLst>
                  <a:ext uri="{FF2B5EF4-FFF2-40B4-BE49-F238E27FC236}">
                    <a16:creationId xmlns:a16="http://schemas.microsoft.com/office/drawing/2014/main" id="{DA435B41-D01D-4257-8FCF-6C87978C7988}"/>
                  </a:ext>
                </a:extLst>
              </p:cNvPr>
              <p:cNvSpPr/>
              <p:nvPr/>
            </p:nvSpPr>
            <p:spPr bwMode="auto">
              <a:xfrm>
                <a:off x="4676776" y="4697413"/>
                <a:ext cx="250825" cy="90488"/>
              </a:xfrm>
              <a:custGeom>
                <a:avLst/>
                <a:gdLst>
                  <a:gd name="T0" fmla="*/ 158 w 158"/>
                  <a:gd name="T1" fmla="*/ 39 h 57"/>
                  <a:gd name="T2" fmla="*/ 158 w 158"/>
                  <a:gd name="T3" fmla="*/ 25 h 57"/>
                  <a:gd name="T4" fmla="*/ 83 w 158"/>
                  <a:gd name="T5" fmla="*/ 43 h 57"/>
                  <a:gd name="T6" fmla="*/ 80 w 158"/>
                  <a:gd name="T7" fmla="*/ 44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1 h 57"/>
                  <a:gd name="T14" fmla="*/ 0 w 158"/>
                  <a:gd name="T15" fmla="*/ 14 h 57"/>
                  <a:gd name="T16" fmla="*/ 81 w 158"/>
                  <a:gd name="T17" fmla="*/ 57 h 57"/>
                  <a:gd name="T18" fmla="*/ 158 w 158"/>
                  <a:gd name="T19" fmla="*/ 39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9"/>
                    </a:moveTo>
                    <a:lnTo>
                      <a:pt x="158" y="25"/>
                    </a:lnTo>
                    <a:lnTo>
                      <a:pt x="83" y="43"/>
                    </a:lnTo>
                    <a:lnTo>
                      <a:pt x="80" y="44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4"/>
                    </a:lnTo>
                    <a:lnTo>
                      <a:pt x="81" y="57"/>
                    </a:lnTo>
                    <a:lnTo>
                      <a:pt x="158" y="39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136">
                <a:extLst>
                  <a:ext uri="{FF2B5EF4-FFF2-40B4-BE49-F238E27FC236}">
                    <a16:creationId xmlns:a16="http://schemas.microsoft.com/office/drawing/2014/main" id="{27D09C4C-6B98-4400-9B60-3F4CFE0D2458}"/>
                  </a:ext>
                </a:extLst>
              </p:cNvPr>
              <p:cNvSpPr/>
              <p:nvPr/>
            </p:nvSpPr>
            <p:spPr bwMode="auto">
              <a:xfrm>
                <a:off x="5060951" y="4710113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137">
                <a:extLst>
                  <a:ext uri="{FF2B5EF4-FFF2-40B4-BE49-F238E27FC236}">
                    <a16:creationId xmlns:a16="http://schemas.microsoft.com/office/drawing/2014/main" id="{39782FC3-4484-499C-AD62-987268B3B5F5}"/>
                  </a:ext>
                </a:extLst>
              </p:cNvPr>
              <p:cNvSpPr/>
              <p:nvPr/>
            </p:nvSpPr>
            <p:spPr bwMode="auto">
              <a:xfrm>
                <a:off x="4676776" y="4732338"/>
                <a:ext cx="250825" cy="90488"/>
              </a:xfrm>
              <a:custGeom>
                <a:avLst/>
                <a:gdLst>
                  <a:gd name="T0" fmla="*/ 158 w 158"/>
                  <a:gd name="T1" fmla="*/ 38 h 57"/>
                  <a:gd name="T2" fmla="*/ 158 w 158"/>
                  <a:gd name="T3" fmla="*/ 24 h 57"/>
                  <a:gd name="T4" fmla="*/ 83 w 158"/>
                  <a:gd name="T5" fmla="*/ 42 h 57"/>
                  <a:gd name="T6" fmla="*/ 80 w 158"/>
                  <a:gd name="T7" fmla="*/ 43 h 57"/>
                  <a:gd name="T8" fmla="*/ 78 w 158"/>
                  <a:gd name="T9" fmla="*/ 42 h 57"/>
                  <a:gd name="T10" fmla="*/ 0 w 158"/>
                  <a:gd name="T11" fmla="*/ 0 h 57"/>
                  <a:gd name="T12" fmla="*/ 0 w 158"/>
                  <a:gd name="T13" fmla="*/ 0 h 57"/>
                  <a:gd name="T14" fmla="*/ 0 w 158"/>
                  <a:gd name="T15" fmla="*/ 13 h 57"/>
                  <a:gd name="T16" fmla="*/ 81 w 158"/>
                  <a:gd name="T17" fmla="*/ 57 h 57"/>
                  <a:gd name="T18" fmla="*/ 158 w 158"/>
                  <a:gd name="T19" fmla="*/ 38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158" y="38"/>
                    </a:moveTo>
                    <a:lnTo>
                      <a:pt x="158" y="24"/>
                    </a:lnTo>
                    <a:lnTo>
                      <a:pt x="83" y="42"/>
                    </a:ln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8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138">
                <a:extLst>
                  <a:ext uri="{FF2B5EF4-FFF2-40B4-BE49-F238E27FC236}">
                    <a16:creationId xmlns:a16="http://schemas.microsoft.com/office/drawing/2014/main" id="{0CFFB8A0-5259-4DA3-938E-F03CA9414C9C}"/>
                  </a:ext>
                </a:extLst>
              </p:cNvPr>
              <p:cNvSpPr/>
              <p:nvPr/>
            </p:nvSpPr>
            <p:spPr bwMode="auto">
              <a:xfrm>
                <a:off x="5060951" y="4745038"/>
                <a:ext cx="122238" cy="50800"/>
              </a:xfrm>
              <a:custGeom>
                <a:avLst/>
                <a:gdLst>
                  <a:gd name="T0" fmla="*/ 0 w 77"/>
                  <a:gd name="T1" fmla="*/ 32 h 32"/>
                  <a:gd name="T2" fmla="*/ 77 w 77"/>
                  <a:gd name="T3" fmla="*/ 14 h 32"/>
                  <a:gd name="T4" fmla="*/ 77 w 77"/>
                  <a:gd name="T5" fmla="*/ 5 h 32"/>
                  <a:gd name="T6" fmla="*/ 77 w 77"/>
                  <a:gd name="T7" fmla="*/ 0 h 32"/>
                  <a:gd name="T8" fmla="*/ 0 w 77"/>
                  <a:gd name="T9" fmla="*/ 18 h 32"/>
                  <a:gd name="T10" fmla="*/ 0 w 77"/>
                  <a:gd name="T11" fmla="*/ 32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7" h="32">
                    <a:moveTo>
                      <a:pt x="0" y="32"/>
                    </a:moveTo>
                    <a:lnTo>
                      <a:pt x="77" y="14"/>
                    </a:lnTo>
                    <a:lnTo>
                      <a:pt x="77" y="5"/>
                    </a:lnTo>
                    <a:lnTo>
                      <a:pt x="77" y="0"/>
                    </a:lnTo>
                    <a:lnTo>
                      <a:pt x="0" y="18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139">
                <a:extLst>
                  <a:ext uri="{FF2B5EF4-FFF2-40B4-BE49-F238E27FC236}">
                    <a16:creationId xmlns:a16="http://schemas.microsoft.com/office/drawing/2014/main" id="{0ACCE3A0-981E-4390-9F67-B5B93C8A7CDF}"/>
                  </a:ext>
                </a:extLst>
              </p:cNvPr>
              <p:cNvSpPr/>
              <p:nvPr/>
            </p:nvSpPr>
            <p:spPr bwMode="auto">
              <a:xfrm>
                <a:off x="4676776" y="4765676"/>
                <a:ext cx="250825" cy="90488"/>
              </a:xfrm>
              <a:custGeom>
                <a:avLst/>
                <a:gdLst>
                  <a:gd name="T0" fmla="*/ 83 w 158"/>
                  <a:gd name="T1" fmla="*/ 43 h 57"/>
                  <a:gd name="T2" fmla="*/ 80 w 158"/>
                  <a:gd name="T3" fmla="*/ 43 h 57"/>
                  <a:gd name="T4" fmla="*/ 78 w 158"/>
                  <a:gd name="T5" fmla="*/ 42 h 57"/>
                  <a:gd name="T6" fmla="*/ 0 w 158"/>
                  <a:gd name="T7" fmla="*/ 0 h 57"/>
                  <a:gd name="T8" fmla="*/ 0 w 158"/>
                  <a:gd name="T9" fmla="*/ 1 h 57"/>
                  <a:gd name="T10" fmla="*/ 0 w 158"/>
                  <a:gd name="T11" fmla="*/ 13 h 57"/>
                  <a:gd name="T12" fmla="*/ 81 w 158"/>
                  <a:gd name="T13" fmla="*/ 57 h 57"/>
                  <a:gd name="T14" fmla="*/ 158 w 158"/>
                  <a:gd name="T15" fmla="*/ 39 h 57"/>
                  <a:gd name="T16" fmla="*/ 158 w 158"/>
                  <a:gd name="T17" fmla="*/ 25 h 57"/>
                  <a:gd name="T18" fmla="*/ 83 w 158"/>
                  <a:gd name="T19" fmla="*/ 43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58" h="57">
                    <a:moveTo>
                      <a:pt x="83" y="43"/>
                    </a:moveTo>
                    <a:lnTo>
                      <a:pt x="80" y="43"/>
                    </a:lnTo>
                    <a:lnTo>
                      <a:pt x="78" y="42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13"/>
                    </a:lnTo>
                    <a:lnTo>
                      <a:pt x="81" y="57"/>
                    </a:lnTo>
                    <a:lnTo>
                      <a:pt x="158" y="39"/>
                    </a:lnTo>
                    <a:lnTo>
                      <a:pt x="158" y="25"/>
                    </a:lnTo>
                    <a:lnTo>
                      <a:pt x="83" y="43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140">
                <a:extLst>
                  <a:ext uri="{FF2B5EF4-FFF2-40B4-BE49-F238E27FC236}">
                    <a16:creationId xmlns:a16="http://schemas.microsoft.com/office/drawing/2014/main" id="{564ED330-E24A-4B9C-8912-64AF608DB69F}"/>
                  </a:ext>
                </a:extLst>
              </p:cNvPr>
              <p:cNvSpPr/>
              <p:nvPr/>
            </p:nvSpPr>
            <p:spPr bwMode="auto">
              <a:xfrm>
                <a:off x="4935538" y="4564063"/>
                <a:ext cx="247650" cy="98425"/>
              </a:xfrm>
              <a:custGeom>
                <a:avLst/>
                <a:gdLst>
                  <a:gd name="T0" fmla="*/ 433 w 860"/>
                  <a:gd name="T1" fmla="*/ 331 h 344"/>
                  <a:gd name="T2" fmla="*/ 433 w 860"/>
                  <a:gd name="T3" fmla="*/ 344 h 344"/>
                  <a:gd name="T4" fmla="*/ 860 w 860"/>
                  <a:gd name="T5" fmla="*/ 243 h 344"/>
                  <a:gd name="T6" fmla="*/ 410 w 860"/>
                  <a:gd name="T7" fmla="*/ 0 h 344"/>
                  <a:gd name="T8" fmla="*/ 0 w 860"/>
                  <a:gd name="T9" fmla="*/ 97 h 344"/>
                  <a:gd name="T10" fmla="*/ 55 w 860"/>
                  <a:gd name="T11" fmla="*/ 127 h 344"/>
                  <a:gd name="T12" fmla="*/ 299 w 860"/>
                  <a:gd name="T13" fmla="*/ 69 h 344"/>
                  <a:gd name="T14" fmla="*/ 302 w 860"/>
                  <a:gd name="T15" fmla="*/ 71 h 344"/>
                  <a:gd name="T16" fmla="*/ 384 w 860"/>
                  <a:gd name="T17" fmla="*/ 87 h 344"/>
                  <a:gd name="T18" fmla="*/ 439 w 860"/>
                  <a:gd name="T19" fmla="*/ 81 h 344"/>
                  <a:gd name="T20" fmla="*/ 440 w 860"/>
                  <a:gd name="T21" fmla="*/ 81 h 344"/>
                  <a:gd name="T22" fmla="*/ 667 w 860"/>
                  <a:gd name="T23" fmla="*/ 203 h 344"/>
                  <a:gd name="T24" fmla="*/ 666 w 860"/>
                  <a:gd name="T25" fmla="*/ 203 h 344"/>
                  <a:gd name="T26" fmla="*/ 638 w 860"/>
                  <a:gd name="T27" fmla="*/ 252 h 344"/>
                  <a:gd name="T28" fmla="*/ 638 w 860"/>
                  <a:gd name="T29" fmla="*/ 253 h 344"/>
                  <a:gd name="T30" fmla="*/ 396 w 860"/>
                  <a:gd name="T31" fmla="*/ 310 h 344"/>
                  <a:gd name="T32" fmla="*/ 433 w 860"/>
                  <a:gd name="T33" fmla="*/ 33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60" h="344">
                    <a:moveTo>
                      <a:pt x="433" y="331"/>
                    </a:moveTo>
                    <a:cubicBezTo>
                      <a:pt x="433" y="344"/>
                      <a:pt x="433" y="344"/>
                      <a:pt x="433" y="344"/>
                    </a:cubicBezTo>
                    <a:cubicBezTo>
                      <a:pt x="860" y="243"/>
                      <a:pt x="860" y="243"/>
                      <a:pt x="860" y="243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55" y="127"/>
                      <a:pt x="55" y="127"/>
                      <a:pt x="55" y="127"/>
                    </a:cubicBezTo>
                    <a:cubicBezTo>
                      <a:pt x="299" y="69"/>
                      <a:pt x="299" y="69"/>
                      <a:pt x="299" y="69"/>
                    </a:cubicBezTo>
                    <a:cubicBezTo>
                      <a:pt x="300" y="70"/>
                      <a:pt x="301" y="70"/>
                      <a:pt x="302" y="71"/>
                    </a:cubicBezTo>
                    <a:cubicBezTo>
                      <a:pt x="321" y="81"/>
                      <a:pt x="352" y="87"/>
                      <a:pt x="384" y="87"/>
                    </a:cubicBezTo>
                    <a:cubicBezTo>
                      <a:pt x="403" y="87"/>
                      <a:pt x="422" y="85"/>
                      <a:pt x="439" y="81"/>
                    </a:cubicBezTo>
                    <a:cubicBezTo>
                      <a:pt x="440" y="81"/>
                      <a:pt x="440" y="81"/>
                      <a:pt x="440" y="81"/>
                    </a:cubicBezTo>
                    <a:cubicBezTo>
                      <a:pt x="667" y="203"/>
                      <a:pt x="667" y="203"/>
                      <a:pt x="667" y="203"/>
                    </a:cubicBezTo>
                    <a:cubicBezTo>
                      <a:pt x="666" y="203"/>
                      <a:pt x="666" y="203"/>
                      <a:pt x="666" y="203"/>
                    </a:cubicBezTo>
                    <a:cubicBezTo>
                      <a:pt x="620" y="214"/>
                      <a:pt x="608" y="236"/>
                      <a:pt x="638" y="252"/>
                    </a:cubicBezTo>
                    <a:cubicBezTo>
                      <a:pt x="638" y="252"/>
                      <a:pt x="638" y="252"/>
                      <a:pt x="638" y="253"/>
                    </a:cubicBezTo>
                    <a:cubicBezTo>
                      <a:pt x="396" y="310"/>
                      <a:pt x="396" y="310"/>
                      <a:pt x="396" y="310"/>
                    </a:cubicBezTo>
                    <a:lnTo>
                      <a:pt x="433" y="331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141">
                <a:extLst>
                  <a:ext uri="{FF2B5EF4-FFF2-40B4-BE49-F238E27FC236}">
                    <a16:creationId xmlns:a16="http://schemas.microsoft.com/office/drawing/2014/main" id="{9733F616-BB16-4A98-A481-02903DB68F35}"/>
                  </a:ext>
                </a:extLst>
              </p:cNvPr>
              <p:cNvSpPr/>
              <p:nvPr/>
            </p:nvSpPr>
            <p:spPr bwMode="auto">
              <a:xfrm>
                <a:off x="4676776" y="4624388"/>
                <a:ext cx="246063" cy="98425"/>
              </a:xfrm>
              <a:custGeom>
                <a:avLst/>
                <a:gdLst>
                  <a:gd name="T0" fmla="*/ 859 w 859"/>
                  <a:gd name="T1" fmla="*/ 243 h 340"/>
                  <a:gd name="T2" fmla="*/ 805 w 859"/>
                  <a:gd name="T3" fmla="*/ 213 h 340"/>
                  <a:gd name="T4" fmla="*/ 565 w 859"/>
                  <a:gd name="T5" fmla="*/ 270 h 340"/>
                  <a:gd name="T6" fmla="*/ 565 w 859"/>
                  <a:gd name="T7" fmla="*/ 270 h 340"/>
                  <a:gd name="T8" fmla="*/ 482 w 859"/>
                  <a:gd name="T9" fmla="*/ 254 h 340"/>
                  <a:gd name="T10" fmla="*/ 427 w 859"/>
                  <a:gd name="T11" fmla="*/ 260 h 340"/>
                  <a:gd name="T12" fmla="*/ 423 w 859"/>
                  <a:gd name="T13" fmla="*/ 261 h 340"/>
                  <a:gd name="T14" fmla="*/ 196 w 859"/>
                  <a:gd name="T15" fmla="*/ 139 h 340"/>
                  <a:gd name="T16" fmla="*/ 201 w 859"/>
                  <a:gd name="T17" fmla="*/ 138 h 340"/>
                  <a:gd name="T18" fmla="*/ 229 w 859"/>
                  <a:gd name="T19" fmla="*/ 88 h 340"/>
                  <a:gd name="T20" fmla="*/ 225 w 859"/>
                  <a:gd name="T21" fmla="*/ 87 h 340"/>
                  <a:gd name="T22" fmla="*/ 464 w 859"/>
                  <a:gd name="T23" fmla="*/ 30 h 340"/>
                  <a:gd name="T24" fmla="*/ 410 w 859"/>
                  <a:gd name="T25" fmla="*/ 0 h 340"/>
                  <a:gd name="T26" fmla="*/ 0 w 859"/>
                  <a:gd name="T27" fmla="*/ 97 h 340"/>
                  <a:gd name="T28" fmla="*/ 450 w 859"/>
                  <a:gd name="T29" fmla="*/ 340 h 340"/>
                  <a:gd name="T30" fmla="*/ 859 w 859"/>
                  <a:gd name="T31" fmla="*/ 243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59" h="340">
                    <a:moveTo>
                      <a:pt x="859" y="243"/>
                    </a:moveTo>
                    <a:cubicBezTo>
                      <a:pt x="805" y="213"/>
                      <a:pt x="805" y="213"/>
                      <a:pt x="805" y="213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65" y="270"/>
                      <a:pt x="565" y="270"/>
                      <a:pt x="565" y="270"/>
                    </a:cubicBezTo>
                    <a:cubicBezTo>
                      <a:pt x="546" y="259"/>
                      <a:pt x="514" y="254"/>
                      <a:pt x="482" y="254"/>
                    </a:cubicBezTo>
                    <a:cubicBezTo>
                      <a:pt x="463" y="254"/>
                      <a:pt x="444" y="256"/>
                      <a:pt x="427" y="260"/>
                    </a:cubicBezTo>
                    <a:cubicBezTo>
                      <a:pt x="426" y="260"/>
                      <a:pt x="424" y="261"/>
                      <a:pt x="423" y="261"/>
                    </a:cubicBezTo>
                    <a:cubicBezTo>
                      <a:pt x="196" y="139"/>
                      <a:pt x="196" y="139"/>
                      <a:pt x="196" y="139"/>
                    </a:cubicBezTo>
                    <a:cubicBezTo>
                      <a:pt x="198" y="138"/>
                      <a:pt x="199" y="138"/>
                      <a:pt x="201" y="138"/>
                    </a:cubicBezTo>
                    <a:cubicBezTo>
                      <a:pt x="247" y="127"/>
                      <a:pt x="259" y="105"/>
                      <a:pt x="229" y="88"/>
                    </a:cubicBezTo>
                    <a:cubicBezTo>
                      <a:pt x="228" y="88"/>
                      <a:pt x="226" y="87"/>
                      <a:pt x="225" y="87"/>
                    </a:cubicBezTo>
                    <a:cubicBezTo>
                      <a:pt x="464" y="30"/>
                      <a:pt x="464" y="30"/>
                      <a:pt x="464" y="30"/>
                    </a:cubicBezTo>
                    <a:cubicBezTo>
                      <a:pt x="410" y="0"/>
                      <a:pt x="410" y="0"/>
                      <a:pt x="410" y="0"/>
                    </a:cubicBezTo>
                    <a:cubicBezTo>
                      <a:pt x="0" y="97"/>
                      <a:pt x="0" y="97"/>
                      <a:pt x="0" y="97"/>
                    </a:cubicBezTo>
                    <a:cubicBezTo>
                      <a:pt x="450" y="340"/>
                      <a:pt x="450" y="340"/>
                      <a:pt x="450" y="340"/>
                    </a:cubicBezTo>
                    <a:lnTo>
                      <a:pt x="859" y="243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142">
                <a:extLst>
                  <a:ext uri="{FF2B5EF4-FFF2-40B4-BE49-F238E27FC236}">
                    <a16:creationId xmlns:a16="http://schemas.microsoft.com/office/drawing/2014/main" id="{6F617023-544A-4F24-A5A6-6DC911A57BCA}"/>
                  </a:ext>
                </a:extLst>
              </p:cNvPr>
              <p:cNvSpPr/>
              <p:nvPr/>
            </p:nvSpPr>
            <p:spPr bwMode="auto">
              <a:xfrm>
                <a:off x="4816476" y="4597401"/>
                <a:ext cx="230188" cy="223838"/>
              </a:xfrm>
              <a:custGeom>
                <a:avLst/>
                <a:gdLst>
                  <a:gd name="T0" fmla="*/ 0 w 145"/>
                  <a:gd name="T1" fmla="*/ 16 h 141"/>
                  <a:gd name="T2" fmla="*/ 78 w 145"/>
                  <a:gd name="T3" fmla="*/ 58 h 141"/>
                  <a:gd name="T4" fmla="*/ 78 w 145"/>
                  <a:gd name="T5" fmla="*/ 141 h 141"/>
                  <a:gd name="T6" fmla="*/ 145 w 145"/>
                  <a:gd name="T7" fmla="*/ 125 h 141"/>
                  <a:gd name="T8" fmla="*/ 145 w 145"/>
                  <a:gd name="T9" fmla="*/ 43 h 141"/>
                  <a:gd name="T10" fmla="*/ 66 w 145"/>
                  <a:gd name="T11" fmla="*/ 0 h 141"/>
                  <a:gd name="T12" fmla="*/ 0 w 145"/>
                  <a:gd name="T13" fmla="*/ 16 h 1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5" h="141">
                    <a:moveTo>
                      <a:pt x="0" y="16"/>
                    </a:moveTo>
                    <a:lnTo>
                      <a:pt x="78" y="58"/>
                    </a:lnTo>
                    <a:lnTo>
                      <a:pt x="78" y="141"/>
                    </a:lnTo>
                    <a:lnTo>
                      <a:pt x="145" y="125"/>
                    </a:lnTo>
                    <a:lnTo>
                      <a:pt x="145" y="43"/>
                    </a:lnTo>
                    <a:lnTo>
                      <a:pt x="66" y="0"/>
                    </a:lnTo>
                    <a:lnTo>
                      <a:pt x="0" y="16"/>
                    </a:lnTo>
                    <a:close/>
                  </a:path>
                </a:pathLst>
              </a:custGeom>
              <a:grpFill/>
              <a:ln w="9525">
                <a:noFill/>
                <a:round/>
              </a:ln>
            </p:spPr>
            <p:txBody>
              <a:bodyPr vert="horz" wrap="square" lIns="121920" tIns="60960" rIns="121920" bIns="60960" numCol="1" anchor="t" anchorCtr="0" compatLnSpc="1"/>
              <a:lstStyle/>
              <a:p>
                <a:pPr defTabSz="914436"/>
                <a:endParaRPr lang="en-US" sz="1867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" name="Group 81">
              <a:extLst>
                <a:ext uri="{FF2B5EF4-FFF2-40B4-BE49-F238E27FC236}">
                  <a16:creationId xmlns:a16="http://schemas.microsoft.com/office/drawing/2014/main" id="{8419ED52-FE0D-4E95-A942-9C3BAC1A7659}"/>
                </a:ext>
              </a:extLst>
            </p:cNvPr>
            <p:cNvGrpSpPr/>
            <p:nvPr/>
          </p:nvGrpSpPr>
          <p:grpSpPr>
            <a:xfrm>
              <a:off x="-3931341" y="2307869"/>
              <a:ext cx="292100" cy="279400"/>
              <a:chOff x="-3931341" y="2307869"/>
              <a:chExt cx="292100" cy="279400"/>
            </a:xfrm>
            <a:grpFill/>
          </p:grpSpPr>
          <p:sp>
            <p:nvSpPr>
              <p:cNvPr id="42" name="Freeform 1236">
                <a:extLst>
                  <a:ext uri="{FF2B5EF4-FFF2-40B4-BE49-F238E27FC236}">
                    <a16:creationId xmlns:a16="http://schemas.microsoft.com/office/drawing/2014/main" id="{EEB15F29-B23E-421B-AFB3-083BCDA1916F}"/>
                  </a:ext>
                </a:extLst>
              </p:cNvPr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 bwMode="auto">
              <a:xfrm>
                <a:off x="-3815803" y="2502305"/>
                <a:ext cx="61024" cy="31044"/>
              </a:xfrm>
              <a:custGeom>
                <a:avLst/>
                <a:gdLst/>
                <a:ahLst/>
                <a:cxnLst>
                  <a:cxn ang="0">
                    <a:pos x="20" y="3"/>
                  </a:cxn>
                  <a:cxn ang="0">
                    <a:pos x="2" y="1"/>
                  </a:cxn>
                  <a:cxn ang="0">
                    <a:pos x="0" y="0"/>
                  </a:cxn>
                  <a:cxn ang="0">
                    <a:pos x="0" y="12"/>
                  </a:cxn>
                  <a:cxn ang="0">
                    <a:pos x="20" y="16"/>
                  </a:cxn>
                  <a:cxn ang="0">
                    <a:pos x="32" y="15"/>
                  </a:cxn>
                  <a:cxn ang="0">
                    <a:pos x="32" y="2"/>
                  </a:cxn>
                  <a:cxn ang="0">
                    <a:pos x="20" y="3"/>
                  </a:cxn>
                </a:cxnLst>
                <a:rect l="0" t="0" r="r" b="b"/>
                <a:pathLst>
                  <a:path w="32" h="16">
                    <a:moveTo>
                      <a:pt x="20" y="3"/>
                    </a:moveTo>
                    <a:cubicBezTo>
                      <a:pt x="13" y="3"/>
                      <a:pt x="7" y="2"/>
                      <a:pt x="2" y="1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3"/>
                      <a:pt x="0" y="7"/>
                      <a:pt x="0" y="12"/>
                    </a:cubicBezTo>
                    <a:cubicBezTo>
                      <a:pt x="5" y="14"/>
                      <a:pt x="12" y="16"/>
                      <a:pt x="20" y="16"/>
                    </a:cubicBezTo>
                    <a:cubicBezTo>
                      <a:pt x="24" y="16"/>
                      <a:pt x="29" y="15"/>
                      <a:pt x="32" y="15"/>
                    </a:cubicBezTo>
                    <a:cubicBezTo>
                      <a:pt x="32" y="12"/>
                      <a:pt x="32" y="8"/>
                      <a:pt x="32" y="2"/>
                    </a:cubicBezTo>
                    <a:cubicBezTo>
                      <a:pt x="28" y="3"/>
                      <a:pt x="24" y="3"/>
                      <a:pt x="2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3" name="Freeform 1237">
                <a:extLst>
                  <a:ext uri="{FF2B5EF4-FFF2-40B4-BE49-F238E27FC236}">
                    <a16:creationId xmlns:a16="http://schemas.microsoft.com/office/drawing/2014/main" id="{6F9CCF43-1070-45C1-AAFB-3206E082DE06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-3829635" y="2307869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3"/>
                      <a:pt x="3" y="5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4" name="Freeform 1238">
                <a:extLst>
                  <a:ext uri="{FF2B5EF4-FFF2-40B4-BE49-F238E27FC236}">
                    <a16:creationId xmlns:a16="http://schemas.microsoft.com/office/drawing/2014/main" id="{1FFBC231-A01B-47ED-BA39-E79B54C8D9FF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-3829635" y="2346266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5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5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8"/>
                      <a:pt x="54" y="6"/>
                      <a:pt x="54" y="5"/>
                    </a:cubicBezTo>
                    <a:cubicBezTo>
                      <a:pt x="54" y="3"/>
                      <a:pt x="54" y="2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1"/>
                      <a:pt x="0" y="3"/>
                      <a:pt x="0" y="5"/>
                    </a:cubicBezTo>
                    <a:cubicBezTo>
                      <a:pt x="0" y="6"/>
                      <a:pt x="0" y="7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5" name="Freeform 1239">
                <a:extLst>
                  <a:ext uri="{FF2B5EF4-FFF2-40B4-BE49-F238E27FC236}">
                    <a16:creationId xmlns:a16="http://schemas.microsoft.com/office/drawing/2014/main" id="{51ECC0BC-AB6B-4C19-98F6-FF0D149F8928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-3829635" y="2380578"/>
                <a:ext cx="104147" cy="40848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42" y="15"/>
                  </a:cxn>
                  <a:cxn ang="0">
                    <a:pos x="50" y="10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1">
                    <a:moveTo>
                      <a:pt x="7" y="18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40" y="18"/>
                      <a:pt x="41" y="16"/>
                      <a:pt x="42" y="15"/>
                    </a:cubicBezTo>
                    <a:cubicBezTo>
                      <a:pt x="44" y="13"/>
                      <a:pt x="47" y="11"/>
                      <a:pt x="50" y="10"/>
                    </a:cubicBezTo>
                    <a:cubicBezTo>
                      <a:pt x="51" y="9"/>
                      <a:pt x="53" y="9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5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6" name="Freeform 1240">
                <a:extLst>
                  <a:ext uri="{FF2B5EF4-FFF2-40B4-BE49-F238E27FC236}">
                    <a16:creationId xmlns:a16="http://schemas.microsoft.com/office/drawing/2014/main" id="{3F5B2D18-DBB6-429E-811A-6FFCA5BE8BB0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-3829635" y="2419792"/>
                <a:ext cx="74856" cy="40031"/>
              </a:xfrm>
              <a:custGeom>
                <a:avLst/>
                <a:gdLst/>
                <a:ahLst/>
                <a:cxnLst>
                  <a:cxn ang="0">
                    <a:pos x="7" y="17"/>
                  </a:cxn>
                  <a:cxn ang="0">
                    <a:pos x="27" y="21"/>
                  </a:cxn>
                  <a:cxn ang="0">
                    <a:pos x="39" y="20"/>
                  </a:cxn>
                  <a:cxn ang="0">
                    <a:pos x="39" y="6"/>
                  </a:cxn>
                  <a:cxn ang="0">
                    <a:pos x="27" y="7"/>
                  </a:cxn>
                  <a:cxn ang="0">
                    <a:pos x="9" y="4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</a:cxnLst>
                <a:rect l="0" t="0" r="r" b="b"/>
                <a:pathLst>
                  <a:path w="39" h="21">
                    <a:moveTo>
                      <a:pt x="7" y="17"/>
                    </a:moveTo>
                    <a:cubicBezTo>
                      <a:pt x="12" y="20"/>
                      <a:pt x="19" y="21"/>
                      <a:pt x="27" y="21"/>
                    </a:cubicBezTo>
                    <a:cubicBezTo>
                      <a:pt x="31" y="21"/>
                      <a:pt x="36" y="21"/>
                      <a:pt x="39" y="20"/>
                    </a:cubicBezTo>
                    <a:cubicBezTo>
                      <a:pt x="39" y="14"/>
                      <a:pt x="39" y="9"/>
                      <a:pt x="39" y="6"/>
                    </a:cubicBezTo>
                    <a:cubicBezTo>
                      <a:pt x="35" y="7"/>
                      <a:pt x="31" y="7"/>
                      <a:pt x="27" y="7"/>
                    </a:cubicBezTo>
                    <a:cubicBezTo>
                      <a:pt x="20" y="7"/>
                      <a:pt x="14" y="6"/>
                      <a:pt x="9" y="4"/>
                    </a:cubicBezTo>
                    <a:cubicBezTo>
                      <a:pt x="5" y="3"/>
                      <a:pt x="2" y="2"/>
                      <a:pt x="0" y="0"/>
                    </a:cubicBezTo>
                    <a:cubicBezTo>
                      <a:pt x="0" y="3"/>
                      <a:pt x="0" y="7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7" name="Freeform 1241">
                <a:extLst>
                  <a:ext uri="{FF2B5EF4-FFF2-40B4-BE49-F238E27FC236}">
                    <a16:creationId xmlns:a16="http://schemas.microsoft.com/office/drawing/2014/main" id="{FD562429-6F4C-4DA6-9519-C424A8E44985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-3829635" y="2456556"/>
                <a:ext cx="74856" cy="41665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7" y="18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39" y="21"/>
                  </a:cxn>
                  <a:cxn ang="0">
                    <a:pos x="39" y="6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4" y="13"/>
                  </a:cxn>
                </a:cxnLst>
                <a:rect l="0" t="0" r="r" b="b"/>
                <a:pathLst>
                  <a:path w="39" h="22">
                    <a:moveTo>
                      <a:pt x="4" y="13"/>
                    </a:moveTo>
                    <a:cubicBezTo>
                      <a:pt x="5" y="14"/>
                      <a:pt x="6" y="16"/>
                      <a:pt x="7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1" y="22"/>
                      <a:pt x="36" y="21"/>
                      <a:pt x="39" y="21"/>
                    </a:cubicBezTo>
                    <a:cubicBezTo>
                      <a:pt x="39" y="16"/>
                      <a:pt x="39" y="11"/>
                      <a:pt x="39" y="6"/>
                    </a:cubicBezTo>
                    <a:cubicBezTo>
                      <a:pt x="35" y="7"/>
                      <a:pt x="31" y="8"/>
                      <a:pt x="27" y="8"/>
                    </a:cubicBezTo>
                    <a:cubicBezTo>
                      <a:pt x="20" y="8"/>
                      <a:pt x="14" y="7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7"/>
                      <a:pt x="0" y="9"/>
                    </a:cubicBezTo>
                    <a:cubicBezTo>
                      <a:pt x="1" y="10"/>
                      <a:pt x="3" y="11"/>
                      <a:pt x="4" y="1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8" name="Freeform 1242">
                <a:extLst>
                  <a:ext uri="{FF2B5EF4-FFF2-40B4-BE49-F238E27FC236}">
                    <a16:creationId xmlns:a16="http://schemas.microsoft.com/office/drawing/2014/main" id="{0033DED6-DA52-4F77-A1DB-A8F4BB820FA4}"/>
                  </a:ext>
                </a:extLst>
              </p:cNvPr>
              <p:cNvSpPr>
                <a:spLocks noChangeAspect="1"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-3743388" y="2475346"/>
                <a:ext cx="104147" cy="42482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1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2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1"/>
                    </a:cubicBezTo>
                    <a:cubicBezTo>
                      <a:pt x="0" y="4"/>
                      <a:pt x="0" y="8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8"/>
                      <a:pt x="54" y="4"/>
                      <a:pt x="54" y="0"/>
                    </a:cubicBezTo>
                    <a:cubicBezTo>
                      <a:pt x="53" y="2"/>
                      <a:pt x="51" y="3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49" name="Freeform 1243">
                <a:extLst>
                  <a:ext uri="{FF2B5EF4-FFF2-40B4-BE49-F238E27FC236}">
                    <a16:creationId xmlns:a16="http://schemas.microsoft.com/office/drawing/2014/main" id="{71959BF6-EFD0-44FE-A3E9-19577F73B925}"/>
                  </a:ext>
                </a:extLst>
              </p:cNvPr>
              <p:cNvSpPr>
                <a:spLocks noChangeAspect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-3743388" y="2441033"/>
                <a:ext cx="104147" cy="38397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8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9"/>
                  </a:cxn>
                  <a:cxn ang="0">
                    <a:pos x="1" y="13"/>
                  </a:cxn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9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0">
                    <a:moveTo>
                      <a:pt x="50" y="3"/>
                    </a:moveTo>
                    <a:cubicBezTo>
                      <a:pt x="44" y="6"/>
                      <a:pt x="36" y="8"/>
                      <a:pt x="27" y="8"/>
                    </a:cubicBezTo>
                    <a:cubicBezTo>
                      <a:pt x="21" y="8"/>
                      <a:pt x="15" y="7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3"/>
                      <a:pt x="0" y="6"/>
                      <a:pt x="0" y="9"/>
                    </a:cubicBezTo>
                    <a:cubicBezTo>
                      <a:pt x="0" y="10"/>
                      <a:pt x="0" y="11"/>
                      <a:pt x="1" y="13"/>
                    </a:cubicBezTo>
                    <a:cubicBezTo>
                      <a:pt x="3" y="14"/>
                      <a:pt x="4" y="15"/>
                      <a:pt x="7" y="16"/>
                    </a:cubicBezTo>
                    <a:cubicBezTo>
                      <a:pt x="12" y="19"/>
                      <a:pt x="19" y="20"/>
                      <a:pt x="27" y="20"/>
                    </a:cubicBezTo>
                    <a:cubicBezTo>
                      <a:pt x="33" y="20"/>
                      <a:pt x="39" y="19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6"/>
                      <a:pt x="54" y="3"/>
                      <a:pt x="54" y="0"/>
                    </a:cubicBezTo>
                    <a:cubicBezTo>
                      <a:pt x="53" y="2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0" name="Freeform 1244">
                <a:extLst>
                  <a:ext uri="{FF2B5EF4-FFF2-40B4-BE49-F238E27FC236}">
                    <a16:creationId xmlns:a16="http://schemas.microsoft.com/office/drawing/2014/main" id="{482EBCB0-7A7E-4F72-B2C2-D4A4345161C5}"/>
                  </a:ext>
                </a:extLst>
              </p:cNvPr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-3743388" y="2513743"/>
                <a:ext cx="104147" cy="40848"/>
              </a:xfrm>
              <a:custGeom>
                <a:avLst/>
                <a:gdLst/>
                <a:ahLst/>
                <a:cxnLst>
                  <a:cxn ang="0">
                    <a:pos x="50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3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8"/>
                  </a:cxn>
                  <a:cxn ang="0">
                    <a:pos x="53" y="13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50" y="3"/>
                  </a:cxn>
                </a:cxnLst>
                <a:rect l="0" t="0" r="r" b="b"/>
                <a:pathLst>
                  <a:path w="54" h="21">
                    <a:moveTo>
                      <a:pt x="50" y="3"/>
                    </a:moveTo>
                    <a:cubicBezTo>
                      <a:pt x="44" y="6"/>
                      <a:pt x="36" y="7"/>
                      <a:pt x="27" y="7"/>
                    </a:cubicBezTo>
                    <a:cubicBezTo>
                      <a:pt x="21" y="7"/>
                      <a:pt x="15" y="6"/>
                      <a:pt x="9" y="5"/>
                    </a:cubicBezTo>
                    <a:cubicBezTo>
                      <a:pt x="6" y="4"/>
                      <a:pt x="2" y="2"/>
                      <a:pt x="0" y="0"/>
                    </a:cubicBezTo>
                    <a:cubicBezTo>
                      <a:pt x="0" y="5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3"/>
                    </a:cubicBezTo>
                    <a:cubicBezTo>
                      <a:pt x="3" y="14"/>
                      <a:pt x="4" y="16"/>
                      <a:pt x="7" y="17"/>
                    </a:cubicBezTo>
                    <a:cubicBezTo>
                      <a:pt x="12" y="19"/>
                      <a:pt x="19" y="21"/>
                      <a:pt x="27" y="21"/>
                    </a:cubicBezTo>
                    <a:cubicBezTo>
                      <a:pt x="33" y="21"/>
                      <a:pt x="39" y="20"/>
                      <a:pt x="43" y="18"/>
                    </a:cubicBezTo>
                    <a:cubicBezTo>
                      <a:pt x="48" y="17"/>
                      <a:pt x="51" y="15"/>
                      <a:pt x="53" y="13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50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1" name="Freeform 1245">
                <a:extLst>
                  <a:ext uri="{FF2B5EF4-FFF2-40B4-BE49-F238E27FC236}">
                    <a16:creationId xmlns:a16="http://schemas.microsoft.com/office/drawing/2014/main" id="{3FCE66B0-73F2-4499-BED9-9E3EA2040111}"/>
                  </a:ext>
                </a:extLst>
              </p:cNvPr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-3743388" y="2401819"/>
                <a:ext cx="104147" cy="42482"/>
              </a:xfrm>
              <a:custGeom>
                <a:avLst/>
                <a:gdLst/>
                <a:ahLst/>
                <a:cxnLst>
                  <a:cxn ang="0">
                    <a:pos x="11" y="2"/>
                  </a:cxn>
                  <a:cxn ang="0">
                    <a:pos x="1" y="8"/>
                  </a:cxn>
                  <a:cxn ang="0">
                    <a:pos x="0" y="11"/>
                  </a:cxn>
                  <a:cxn ang="0">
                    <a:pos x="1" y="15"/>
                  </a:cxn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5"/>
                  </a:cxn>
                  <a:cxn ang="0">
                    <a:pos x="54" y="11"/>
                  </a:cxn>
                  <a:cxn ang="0">
                    <a:pos x="53" y="8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</a:cxnLst>
                <a:rect l="0" t="0" r="r" b="b"/>
                <a:pathLst>
                  <a:path w="54" h="22">
                    <a:moveTo>
                      <a:pt x="11" y="2"/>
                    </a:moveTo>
                    <a:cubicBezTo>
                      <a:pt x="7" y="4"/>
                      <a:pt x="3" y="6"/>
                      <a:pt x="1" y="8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5"/>
                    </a:cubicBezTo>
                    <a:cubicBezTo>
                      <a:pt x="3" y="16"/>
                      <a:pt x="4" y="17"/>
                      <a:pt x="7" y="18"/>
                    </a:cubicBezTo>
                    <a:cubicBezTo>
                      <a:pt x="12" y="21"/>
                      <a:pt x="19" y="22"/>
                      <a:pt x="27" y="22"/>
                    </a:cubicBezTo>
                    <a:cubicBezTo>
                      <a:pt x="33" y="22"/>
                      <a:pt x="39" y="21"/>
                      <a:pt x="43" y="20"/>
                    </a:cubicBezTo>
                    <a:cubicBezTo>
                      <a:pt x="48" y="19"/>
                      <a:pt x="51" y="17"/>
                      <a:pt x="53" y="15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8"/>
                    </a:cubicBezTo>
                    <a:cubicBezTo>
                      <a:pt x="52" y="6"/>
                      <a:pt x="50" y="5"/>
                      <a:pt x="47" y="4"/>
                    </a:cubicBezTo>
                    <a:cubicBezTo>
                      <a:pt x="42" y="2"/>
                      <a:pt x="35" y="0"/>
                      <a:pt x="27" y="0"/>
                    </a:cubicBezTo>
                    <a:cubicBezTo>
                      <a:pt x="21" y="0"/>
                      <a:pt x="16" y="1"/>
                      <a:pt x="11" y="2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2" name="Freeform 1246">
                <a:extLst>
                  <a:ext uri="{FF2B5EF4-FFF2-40B4-BE49-F238E27FC236}">
                    <a16:creationId xmlns:a16="http://schemas.microsoft.com/office/drawing/2014/main" id="{04504CAD-0170-48CC-8691-4149B096187E}"/>
                  </a:ext>
                </a:extLst>
              </p:cNvPr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-3931341" y="2547238"/>
                <a:ext cx="104147" cy="40031"/>
              </a:xfrm>
              <a:custGeom>
                <a:avLst/>
                <a:gdLst/>
                <a:ahLst/>
                <a:cxnLst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10"/>
                  </a:cxn>
                  <a:cxn ang="0">
                    <a:pos x="1" y="14"/>
                  </a:cxn>
                  <a:cxn ang="0">
                    <a:pos x="7" y="17"/>
                  </a:cxn>
                  <a:cxn ang="0">
                    <a:pos x="27" y="21"/>
                  </a:cxn>
                  <a:cxn ang="0">
                    <a:pos x="43" y="19"/>
                  </a:cxn>
                  <a:cxn ang="0">
                    <a:pos x="53" y="14"/>
                  </a:cxn>
                  <a:cxn ang="0">
                    <a:pos x="54" y="10"/>
                  </a:cxn>
                  <a:cxn ang="0">
                    <a:pos x="54" y="0"/>
                  </a:cxn>
                  <a:cxn ang="0">
                    <a:pos x="49" y="3"/>
                  </a:cxn>
                </a:cxnLst>
                <a:rect l="0" t="0" r="r" b="b"/>
                <a:pathLst>
                  <a:path w="54" h="21">
                    <a:moveTo>
                      <a:pt x="49" y="3"/>
                    </a:move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4"/>
                      <a:pt x="0" y="8"/>
                      <a:pt x="0" y="10"/>
                    </a:cubicBezTo>
                    <a:cubicBezTo>
                      <a:pt x="0" y="11"/>
                      <a:pt x="0" y="12"/>
                      <a:pt x="1" y="14"/>
                    </a:cubicBezTo>
                    <a:cubicBezTo>
                      <a:pt x="2" y="15"/>
                      <a:pt x="4" y="16"/>
                      <a:pt x="7" y="17"/>
                    </a:cubicBezTo>
                    <a:cubicBezTo>
                      <a:pt x="12" y="20"/>
                      <a:pt x="19" y="21"/>
                      <a:pt x="27" y="21"/>
                    </a:cubicBezTo>
                    <a:cubicBezTo>
                      <a:pt x="33" y="21"/>
                      <a:pt x="38" y="20"/>
                      <a:pt x="43" y="19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2"/>
                      <a:pt x="54" y="11"/>
                      <a:pt x="54" y="10"/>
                    </a:cubicBezTo>
                    <a:cubicBezTo>
                      <a:pt x="54" y="9"/>
                      <a:pt x="54" y="5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3" name="Freeform 1247">
                <a:extLst>
                  <a:ext uri="{FF2B5EF4-FFF2-40B4-BE49-F238E27FC236}">
                    <a16:creationId xmlns:a16="http://schemas.microsoft.com/office/drawing/2014/main" id="{B42A1E74-EBBC-4413-B5D4-67AA04EBBF1A}"/>
                  </a:ext>
                </a:extLst>
              </p:cNvPr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-3931341" y="2473712"/>
                <a:ext cx="104147" cy="42482"/>
              </a:xfrm>
              <a:custGeom>
                <a:avLst/>
                <a:gdLst/>
                <a:ahLst/>
                <a:cxnLst>
                  <a:cxn ang="0">
                    <a:pos x="7" y="18"/>
                  </a:cxn>
                  <a:cxn ang="0">
                    <a:pos x="27" y="22"/>
                  </a:cxn>
                  <a:cxn ang="0">
                    <a:pos x="43" y="20"/>
                  </a:cxn>
                  <a:cxn ang="0">
                    <a:pos x="53" y="14"/>
                  </a:cxn>
                  <a:cxn ang="0">
                    <a:pos x="54" y="11"/>
                  </a:cxn>
                  <a:cxn ang="0">
                    <a:pos x="53" y="7"/>
                  </a:cxn>
                  <a:cxn ang="0">
                    <a:pos x="47" y="4"/>
                  </a:cxn>
                  <a:cxn ang="0">
                    <a:pos x="27" y="0"/>
                  </a:cxn>
                  <a:cxn ang="0">
                    <a:pos x="11" y="2"/>
                  </a:cxn>
                  <a:cxn ang="0">
                    <a:pos x="1" y="7"/>
                  </a:cxn>
                  <a:cxn ang="0">
                    <a:pos x="0" y="11"/>
                  </a:cxn>
                  <a:cxn ang="0">
                    <a:pos x="1" y="14"/>
                  </a:cxn>
                  <a:cxn ang="0">
                    <a:pos x="7" y="18"/>
                  </a:cxn>
                </a:cxnLst>
                <a:rect l="0" t="0" r="r" b="b"/>
                <a:pathLst>
                  <a:path w="54" h="22">
                    <a:moveTo>
                      <a:pt x="7" y="18"/>
                    </a:moveTo>
                    <a:cubicBezTo>
                      <a:pt x="12" y="20"/>
                      <a:pt x="19" y="22"/>
                      <a:pt x="27" y="22"/>
                    </a:cubicBezTo>
                    <a:cubicBezTo>
                      <a:pt x="33" y="22"/>
                      <a:pt x="38" y="21"/>
                      <a:pt x="43" y="20"/>
                    </a:cubicBezTo>
                    <a:cubicBezTo>
                      <a:pt x="47" y="18"/>
                      <a:pt x="51" y="16"/>
                      <a:pt x="53" y="14"/>
                    </a:cubicBezTo>
                    <a:cubicBezTo>
                      <a:pt x="54" y="13"/>
                      <a:pt x="54" y="12"/>
                      <a:pt x="54" y="11"/>
                    </a:cubicBezTo>
                    <a:cubicBezTo>
                      <a:pt x="54" y="10"/>
                      <a:pt x="54" y="9"/>
                      <a:pt x="53" y="7"/>
                    </a:cubicBezTo>
                    <a:cubicBezTo>
                      <a:pt x="51" y="6"/>
                      <a:pt x="50" y="5"/>
                      <a:pt x="47" y="4"/>
                    </a:cubicBezTo>
                    <a:cubicBezTo>
                      <a:pt x="42" y="1"/>
                      <a:pt x="35" y="0"/>
                      <a:pt x="27" y="0"/>
                    </a:cubicBezTo>
                    <a:cubicBezTo>
                      <a:pt x="21" y="0"/>
                      <a:pt x="15" y="1"/>
                      <a:pt x="11" y="2"/>
                    </a:cubicBezTo>
                    <a:cubicBezTo>
                      <a:pt x="6" y="4"/>
                      <a:pt x="3" y="6"/>
                      <a:pt x="1" y="7"/>
                    </a:cubicBezTo>
                    <a:cubicBezTo>
                      <a:pt x="0" y="9"/>
                      <a:pt x="0" y="10"/>
                      <a:pt x="0" y="11"/>
                    </a:cubicBezTo>
                    <a:cubicBezTo>
                      <a:pt x="0" y="12"/>
                      <a:pt x="0" y="13"/>
                      <a:pt x="1" y="14"/>
                    </a:cubicBezTo>
                    <a:cubicBezTo>
                      <a:pt x="2" y="16"/>
                      <a:pt x="4" y="17"/>
                      <a:pt x="7" y="18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54" name="Freeform 1248">
                <a:extLst>
                  <a:ext uri="{FF2B5EF4-FFF2-40B4-BE49-F238E27FC236}">
                    <a16:creationId xmlns:a16="http://schemas.microsoft.com/office/drawing/2014/main" id="{D34AC417-3F66-4F74-B018-0F2C7E94980C}"/>
                  </a:ext>
                </a:extLst>
              </p:cNvPr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-3931341" y="2512109"/>
                <a:ext cx="104147" cy="38397"/>
              </a:xfrm>
              <a:custGeom>
                <a:avLst/>
                <a:gdLst/>
                <a:ahLst/>
                <a:cxnLst>
                  <a:cxn ang="0">
                    <a:pos x="7" y="16"/>
                  </a:cxn>
                  <a:cxn ang="0">
                    <a:pos x="27" y="20"/>
                  </a:cxn>
                  <a:cxn ang="0">
                    <a:pos x="43" y="18"/>
                  </a:cxn>
                  <a:cxn ang="0">
                    <a:pos x="53" y="12"/>
                  </a:cxn>
                  <a:cxn ang="0">
                    <a:pos x="54" y="9"/>
                  </a:cxn>
                  <a:cxn ang="0">
                    <a:pos x="54" y="8"/>
                  </a:cxn>
                  <a:cxn ang="0">
                    <a:pos x="54" y="0"/>
                  </a:cxn>
                  <a:cxn ang="0">
                    <a:pos x="49" y="3"/>
                  </a:cxn>
                  <a:cxn ang="0">
                    <a:pos x="27" y="7"/>
                  </a:cxn>
                  <a:cxn ang="0">
                    <a:pos x="9" y="5"/>
                  </a:cxn>
                  <a:cxn ang="0">
                    <a:pos x="0" y="0"/>
                  </a:cxn>
                  <a:cxn ang="0">
                    <a:pos x="0" y="7"/>
                  </a:cxn>
                  <a:cxn ang="0">
                    <a:pos x="0" y="9"/>
                  </a:cxn>
                  <a:cxn ang="0">
                    <a:pos x="1" y="12"/>
                  </a:cxn>
                  <a:cxn ang="0">
                    <a:pos x="7" y="16"/>
                  </a:cxn>
                </a:cxnLst>
                <a:rect l="0" t="0" r="r" b="b"/>
                <a:pathLst>
                  <a:path w="54" h="20">
                    <a:moveTo>
                      <a:pt x="7" y="16"/>
                    </a:moveTo>
                    <a:cubicBezTo>
                      <a:pt x="12" y="18"/>
                      <a:pt x="19" y="20"/>
                      <a:pt x="27" y="20"/>
                    </a:cubicBezTo>
                    <a:cubicBezTo>
                      <a:pt x="33" y="20"/>
                      <a:pt x="38" y="19"/>
                      <a:pt x="43" y="18"/>
                    </a:cubicBezTo>
                    <a:cubicBezTo>
                      <a:pt x="47" y="16"/>
                      <a:pt x="51" y="14"/>
                      <a:pt x="53" y="12"/>
                    </a:cubicBezTo>
                    <a:cubicBezTo>
                      <a:pt x="54" y="11"/>
                      <a:pt x="54" y="10"/>
                      <a:pt x="54" y="9"/>
                    </a:cubicBezTo>
                    <a:cubicBezTo>
                      <a:pt x="54" y="9"/>
                      <a:pt x="54" y="8"/>
                      <a:pt x="54" y="8"/>
                    </a:cubicBezTo>
                    <a:cubicBezTo>
                      <a:pt x="54" y="5"/>
                      <a:pt x="54" y="3"/>
                      <a:pt x="54" y="0"/>
                    </a:cubicBezTo>
                    <a:cubicBezTo>
                      <a:pt x="53" y="1"/>
                      <a:pt x="51" y="2"/>
                      <a:pt x="49" y="3"/>
                    </a:cubicBezTo>
                    <a:cubicBezTo>
                      <a:pt x="43" y="6"/>
                      <a:pt x="36" y="7"/>
                      <a:pt x="27" y="7"/>
                    </a:cubicBezTo>
                    <a:cubicBezTo>
                      <a:pt x="20" y="7"/>
                      <a:pt x="14" y="6"/>
                      <a:pt x="9" y="5"/>
                    </a:cubicBezTo>
                    <a:cubicBezTo>
                      <a:pt x="5" y="4"/>
                      <a:pt x="2" y="2"/>
                      <a:pt x="0" y="0"/>
                    </a:cubicBezTo>
                    <a:cubicBezTo>
                      <a:pt x="0" y="2"/>
                      <a:pt x="0" y="4"/>
                      <a:pt x="0" y="7"/>
                    </a:cubicBezTo>
                    <a:cubicBezTo>
                      <a:pt x="0" y="7"/>
                      <a:pt x="0" y="8"/>
                      <a:pt x="0" y="9"/>
                    </a:cubicBezTo>
                    <a:cubicBezTo>
                      <a:pt x="0" y="10"/>
                      <a:pt x="0" y="11"/>
                      <a:pt x="1" y="12"/>
                    </a:cubicBezTo>
                    <a:cubicBezTo>
                      <a:pt x="2" y="14"/>
                      <a:pt x="4" y="15"/>
                      <a:pt x="7" y="16"/>
                    </a:cubicBezTo>
                    <a:close/>
                  </a:path>
                </a:pathLst>
              </a:custGeom>
              <a:grpFill/>
              <a:ln w="9525">
                <a:noFill/>
              </a:ln>
            </p:spPr>
            <p:txBody>
              <a:bodyPr/>
              <a:lstStyle/>
              <a:p>
                <a:pPr defTabSz="914436">
                  <a:defRPr/>
                </a:pPr>
                <a:endParaRPr lang="en-US" sz="1867" kern="0" dirty="0">
                  <a:solidFill>
                    <a:srgbClr val="002060"/>
                  </a:solidFill>
                  <a:latin typeface="Arial" panose="020B0604020202020204" pitchFamily="34" charset="0"/>
                  <a:ea typeface="MS PGothic" panose="020B0600070205080204" charset="-128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9" name="Прямоугольник 38"/>
          <p:cNvSpPr/>
          <p:nvPr/>
        </p:nvSpPr>
        <p:spPr>
          <a:xfrm>
            <a:off x="3512209" y="4623260"/>
            <a:ext cx="516028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>
              <a:spcAft>
                <a:spcPts val="1200"/>
              </a:spcAft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Увеличение возможностей региональных бюджетов в решении вопросов местного населения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480904" y="744717"/>
            <a:ext cx="8165227" cy="400110"/>
          </a:xfrm>
          <a:prstGeom prst="rect">
            <a:avLst/>
          </a:prstGeom>
          <a:pattFill prst="dkUpDiag">
            <a:fgClr>
              <a:srgbClr val="D5F2FC"/>
            </a:fgClr>
            <a:bgClr>
              <a:sysClr val="window" lastClr="FFFFFF"/>
            </a:bgClr>
          </a:pattFill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ctr" defTabSz="914436">
              <a:buClr>
                <a:srgbClr val="00B050"/>
              </a:buClr>
              <a:defRPr/>
            </a:pPr>
            <a:r>
              <a:rPr lang="ru-RU" sz="20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Прогноз доходов местных бюджетов на 2023-2025 годы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480905" y="1141381"/>
            <a:ext cx="360849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23 год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– </a:t>
            </a:r>
            <a:r>
              <a:rPr lang="ru-RU" sz="2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5 267,8</a:t>
            </a:r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600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лрд. </a:t>
            </a:r>
            <a:r>
              <a:rPr lang="ru-RU" sz="1600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тенге</a:t>
            </a:r>
          </a:p>
          <a:p>
            <a:pPr defTabSz="914436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24 год – </a:t>
            </a:r>
            <a:r>
              <a:rPr lang="ru-RU" sz="2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5 686,4</a:t>
            </a:r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600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лрд. тенге</a:t>
            </a:r>
          </a:p>
          <a:p>
            <a:pPr defTabSz="914436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25 год 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– </a:t>
            </a:r>
            <a:r>
              <a:rPr lang="ru-RU" sz="2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6 091,7</a:t>
            </a:r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600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лрд. тенге</a:t>
            </a:r>
            <a:endParaRPr lang="ru-RU" sz="1600" i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350078" y="2790971"/>
            <a:ext cx="405470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36">
              <a:buClr>
                <a:srgbClr val="00B050"/>
              </a:buClr>
              <a:defRPr/>
            </a:pP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Передача с</a:t>
            </a:r>
            <a:r>
              <a:rPr lang="ru-RU" sz="1400" b="1" kern="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400" b="1" kern="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2</a:t>
            </a:r>
            <a:r>
              <a:rPr lang="en-US" sz="1400" b="1" kern="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ea typeface="Tahoma" panose="020B0604030504040204" pitchFamily="34" charset="0"/>
              </a:rPr>
              <a:t>3</a:t>
            </a:r>
            <a:r>
              <a:rPr lang="ru-RU" sz="1400" b="1" kern="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года 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в</a:t>
            </a:r>
            <a:r>
              <a:rPr lang="en-US" sz="1400" kern="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400" kern="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естные бюджеты отдельных видов </a:t>
            </a:r>
            <a:r>
              <a:rPr lang="ru-RU" sz="1400" b="1" kern="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налоговых и неналоговых </a:t>
            </a:r>
            <a:r>
              <a:rPr lang="ru-RU" sz="14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поступлений, </a:t>
            </a:r>
            <a:r>
              <a:rPr lang="ru-RU" sz="1400" b="1" kern="0" dirty="0">
                <a:solidFill>
                  <a:srgbClr val="4472C4">
                    <a:lumMod val="75000"/>
                  </a:srgbClr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акцизы</a:t>
            </a:r>
          </a:p>
        </p:txBody>
      </p:sp>
      <p:sp>
        <p:nvSpPr>
          <p:cNvPr id="69" name="Chevron2">
            <a:extLst>
              <a:ext uri="{FF2B5EF4-FFF2-40B4-BE49-F238E27FC236}">
                <a16:creationId xmlns:a16="http://schemas.microsoft.com/office/drawing/2014/main" id="{BAF2B6E9-9EBE-40FE-A934-A41A657CA27D}"/>
              </a:ext>
            </a:extLst>
          </p:cNvPr>
          <p:cNvSpPr>
            <a:spLocks noChangeAspect="1"/>
          </p:cNvSpPr>
          <p:nvPr/>
        </p:nvSpPr>
        <p:spPr bwMode="auto">
          <a:xfrm rot="16200000" flipH="1">
            <a:off x="2102652" y="2125184"/>
            <a:ext cx="194267" cy="68400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rgbClr val="0065BD"/>
          </a:solidFill>
          <a:ln w="9525" cap="flat" cmpd="sng" algn="ctr">
            <a:solidFill>
              <a:schemeClr val="accent5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00" kern="0" dirty="0" err="1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71" name="Chevron2">
            <a:extLst>
              <a:ext uri="{FF2B5EF4-FFF2-40B4-BE49-F238E27FC236}">
                <a16:creationId xmlns:a16="http://schemas.microsoft.com/office/drawing/2014/main" id="{BAF2B6E9-9EBE-40FE-A934-A41A657CA27D}"/>
              </a:ext>
            </a:extLst>
          </p:cNvPr>
          <p:cNvSpPr>
            <a:spLocks noChangeAspect="1"/>
          </p:cNvSpPr>
          <p:nvPr/>
        </p:nvSpPr>
        <p:spPr bwMode="auto">
          <a:xfrm rot="16200000" flipH="1">
            <a:off x="2101263" y="2275334"/>
            <a:ext cx="194267" cy="684000"/>
          </a:xfrm>
          <a:custGeom>
            <a:avLst/>
            <a:gdLst/>
            <a:ahLst/>
            <a:cxnLst/>
            <a:rect l="0" t="0" r="0" b="0"/>
            <a:pathLst>
              <a:path w="2984501" h="5080001">
                <a:moveTo>
                  <a:pt x="0" y="0"/>
                </a:moveTo>
                <a:lnTo>
                  <a:pt x="1524000" y="0"/>
                </a:lnTo>
                <a:lnTo>
                  <a:pt x="2984500" y="2540000"/>
                </a:lnTo>
                <a:lnTo>
                  <a:pt x="1524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300" kern="0" dirty="0" err="1">
              <a:solidFill>
                <a:srgbClr val="000000"/>
              </a:solidFill>
              <a:latin typeface="Segoe UI Light"/>
              <a:ea typeface="ＭＳ Ｐゴシック"/>
            </a:endParaRPr>
          </a:p>
        </p:txBody>
      </p:sp>
      <p:sp>
        <p:nvSpPr>
          <p:cNvPr id="75" name="TextBox 17"/>
          <p:cNvSpPr txBox="1">
            <a:spLocks noChangeArrowheads="1"/>
          </p:cNvSpPr>
          <p:nvPr/>
        </p:nvSpPr>
        <p:spPr bwMode="auto">
          <a:xfrm>
            <a:off x="5065099" y="3332466"/>
            <a:ext cx="3675221" cy="338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Учтен налоговый потенциал регионов</a:t>
            </a:r>
            <a:endParaRPr kumimoji="0" lang="ru-RU" altLang="ru-RU" sz="1400" b="1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grpSp>
        <p:nvGrpSpPr>
          <p:cNvPr id="76" name="Group 103"/>
          <p:cNvGrpSpPr/>
          <p:nvPr/>
        </p:nvGrpSpPr>
        <p:grpSpPr>
          <a:xfrm>
            <a:off x="5013088" y="1241136"/>
            <a:ext cx="513319" cy="417544"/>
            <a:chOff x="2805353" y="5270765"/>
            <a:chExt cx="360363" cy="333378"/>
          </a:xfrm>
          <a:solidFill>
            <a:schemeClr val="accent5"/>
          </a:solidFill>
        </p:grpSpPr>
        <p:sp>
          <p:nvSpPr>
            <p:cNvPr id="77" name="Freeform 15"/>
            <p:cNvSpPr>
              <a:spLocks/>
            </p:cNvSpPr>
            <p:nvPr/>
          </p:nvSpPr>
          <p:spPr bwMode="auto">
            <a:xfrm>
              <a:off x="2810116" y="5504130"/>
              <a:ext cx="63500" cy="100013"/>
            </a:xfrm>
            <a:custGeom>
              <a:avLst/>
              <a:gdLst>
                <a:gd name="T0" fmla="*/ 0 w 226"/>
                <a:gd name="T1" fmla="*/ 106 h 348"/>
                <a:gd name="T2" fmla="*/ 0 w 226"/>
                <a:gd name="T3" fmla="*/ 316 h 348"/>
                <a:gd name="T4" fmla="*/ 40 w 226"/>
                <a:gd name="T5" fmla="*/ 348 h 348"/>
                <a:gd name="T6" fmla="*/ 187 w 226"/>
                <a:gd name="T7" fmla="*/ 348 h 348"/>
                <a:gd name="T8" fmla="*/ 226 w 226"/>
                <a:gd name="T9" fmla="*/ 316 h 348"/>
                <a:gd name="T10" fmla="*/ 226 w 226"/>
                <a:gd name="T11" fmla="*/ 0 h 348"/>
                <a:gd name="T12" fmla="*/ 137 w 226"/>
                <a:gd name="T13" fmla="*/ 89 h 348"/>
                <a:gd name="T14" fmla="*/ 58 w 226"/>
                <a:gd name="T15" fmla="*/ 122 h 348"/>
                <a:gd name="T16" fmla="*/ 0 w 226"/>
                <a:gd name="T17" fmla="*/ 106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348">
                  <a:moveTo>
                    <a:pt x="0" y="106"/>
                  </a:moveTo>
                  <a:cubicBezTo>
                    <a:pt x="0" y="316"/>
                    <a:pt x="0" y="316"/>
                    <a:pt x="0" y="316"/>
                  </a:cubicBezTo>
                  <a:cubicBezTo>
                    <a:pt x="0" y="334"/>
                    <a:pt x="18" y="348"/>
                    <a:pt x="40" y="348"/>
                  </a:cubicBezTo>
                  <a:cubicBezTo>
                    <a:pt x="187" y="348"/>
                    <a:pt x="187" y="348"/>
                    <a:pt x="187" y="348"/>
                  </a:cubicBezTo>
                  <a:cubicBezTo>
                    <a:pt x="208" y="348"/>
                    <a:pt x="226" y="334"/>
                    <a:pt x="226" y="316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137" y="89"/>
                    <a:pt x="137" y="89"/>
                    <a:pt x="137" y="89"/>
                  </a:cubicBezTo>
                  <a:cubicBezTo>
                    <a:pt x="116" y="110"/>
                    <a:pt x="88" y="122"/>
                    <a:pt x="58" y="122"/>
                  </a:cubicBezTo>
                  <a:cubicBezTo>
                    <a:pt x="37" y="122"/>
                    <a:pt x="18" y="116"/>
                    <a:pt x="0" y="1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</a:endParaRPr>
            </a:p>
          </p:txBody>
        </p:sp>
        <p:sp>
          <p:nvSpPr>
            <p:cNvPr id="78" name="Freeform 16"/>
            <p:cNvSpPr>
              <a:spLocks/>
            </p:cNvSpPr>
            <p:nvPr/>
          </p:nvSpPr>
          <p:spPr bwMode="auto">
            <a:xfrm>
              <a:off x="2906954" y="5423165"/>
              <a:ext cx="63500" cy="180975"/>
            </a:xfrm>
            <a:custGeom>
              <a:avLst/>
              <a:gdLst>
                <a:gd name="T0" fmla="*/ 0 w 226"/>
                <a:gd name="T1" fmla="*/ 168 h 628"/>
                <a:gd name="T2" fmla="*/ 0 w 226"/>
                <a:gd name="T3" fmla="*/ 576 h 628"/>
                <a:gd name="T4" fmla="*/ 40 w 226"/>
                <a:gd name="T5" fmla="*/ 628 h 628"/>
                <a:gd name="T6" fmla="*/ 187 w 226"/>
                <a:gd name="T7" fmla="*/ 628 h 628"/>
                <a:gd name="T8" fmla="*/ 226 w 226"/>
                <a:gd name="T9" fmla="*/ 576 h 628"/>
                <a:gd name="T10" fmla="*/ 226 w 226"/>
                <a:gd name="T11" fmla="*/ 57 h 628"/>
                <a:gd name="T12" fmla="*/ 169 w 226"/>
                <a:gd name="T13" fmla="*/ 0 h 628"/>
                <a:gd name="T14" fmla="*/ 0 w 226"/>
                <a:gd name="T15" fmla="*/ 168 h 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6" h="628">
                  <a:moveTo>
                    <a:pt x="0" y="168"/>
                  </a:moveTo>
                  <a:cubicBezTo>
                    <a:pt x="0" y="576"/>
                    <a:pt x="0" y="576"/>
                    <a:pt x="0" y="576"/>
                  </a:cubicBezTo>
                  <a:cubicBezTo>
                    <a:pt x="0" y="605"/>
                    <a:pt x="18" y="628"/>
                    <a:pt x="40" y="628"/>
                  </a:cubicBezTo>
                  <a:cubicBezTo>
                    <a:pt x="187" y="628"/>
                    <a:pt x="187" y="628"/>
                    <a:pt x="187" y="628"/>
                  </a:cubicBezTo>
                  <a:cubicBezTo>
                    <a:pt x="208" y="628"/>
                    <a:pt x="226" y="605"/>
                    <a:pt x="226" y="576"/>
                  </a:cubicBezTo>
                  <a:cubicBezTo>
                    <a:pt x="226" y="57"/>
                    <a:pt x="226" y="57"/>
                    <a:pt x="226" y="57"/>
                  </a:cubicBezTo>
                  <a:cubicBezTo>
                    <a:pt x="169" y="0"/>
                    <a:pt x="169" y="0"/>
                    <a:pt x="169" y="0"/>
                  </a:cubicBezTo>
                  <a:lnTo>
                    <a:pt x="0" y="1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</a:endParaRPr>
            </a:p>
          </p:txBody>
        </p:sp>
        <p:sp>
          <p:nvSpPr>
            <p:cNvPr id="79" name="Freeform 17"/>
            <p:cNvSpPr>
              <a:spLocks/>
            </p:cNvSpPr>
            <p:nvPr/>
          </p:nvSpPr>
          <p:spPr bwMode="auto">
            <a:xfrm>
              <a:off x="3003782" y="5415228"/>
              <a:ext cx="63500" cy="188913"/>
            </a:xfrm>
            <a:custGeom>
              <a:avLst/>
              <a:gdLst>
                <a:gd name="T0" fmla="*/ 0 w 226"/>
                <a:gd name="T1" fmla="*/ 164 h 656"/>
                <a:gd name="T2" fmla="*/ 0 w 226"/>
                <a:gd name="T3" fmla="*/ 619 h 656"/>
                <a:gd name="T4" fmla="*/ 40 w 226"/>
                <a:gd name="T5" fmla="*/ 656 h 656"/>
                <a:gd name="T6" fmla="*/ 186 w 226"/>
                <a:gd name="T7" fmla="*/ 656 h 656"/>
                <a:gd name="T8" fmla="*/ 226 w 226"/>
                <a:gd name="T9" fmla="*/ 619 h 656"/>
                <a:gd name="T10" fmla="*/ 226 w 226"/>
                <a:gd name="T11" fmla="*/ 0 h 656"/>
                <a:gd name="T12" fmla="*/ 94 w 226"/>
                <a:gd name="T13" fmla="*/ 132 h 656"/>
                <a:gd name="T14" fmla="*/ 15 w 226"/>
                <a:gd name="T15" fmla="*/ 165 h 656"/>
                <a:gd name="T16" fmla="*/ 0 w 226"/>
                <a:gd name="T17" fmla="*/ 164 h 6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656">
                  <a:moveTo>
                    <a:pt x="0" y="164"/>
                  </a:moveTo>
                  <a:cubicBezTo>
                    <a:pt x="0" y="619"/>
                    <a:pt x="0" y="619"/>
                    <a:pt x="0" y="619"/>
                  </a:cubicBezTo>
                  <a:cubicBezTo>
                    <a:pt x="0" y="640"/>
                    <a:pt x="18" y="656"/>
                    <a:pt x="40" y="656"/>
                  </a:cubicBezTo>
                  <a:cubicBezTo>
                    <a:pt x="186" y="656"/>
                    <a:pt x="186" y="656"/>
                    <a:pt x="186" y="656"/>
                  </a:cubicBezTo>
                  <a:cubicBezTo>
                    <a:pt x="208" y="656"/>
                    <a:pt x="226" y="640"/>
                    <a:pt x="226" y="619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94" y="132"/>
                    <a:pt x="94" y="132"/>
                    <a:pt x="94" y="132"/>
                  </a:cubicBezTo>
                  <a:cubicBezTo>
                    <a:pt x="73" y="153"/>
                    <a:pt x="44" y="165"/>
                    <a:pt x="15" y="165"/>
                  </a:cubicBezTo>
                  <a:cubicBezTo>
                    <a:pt x="10" y="165"/>
                    <a:pt x="5" y="165"/>
                    <a:pt x="0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</a:endParaRPr>
            </a:p>
          </p:txBody>
        </p:sp>
        <p:sp>
          <p:nvSpPr>
            <p:cNvPr id="80" name="Freeform 18"/>
            <p:cNvSpPr>
              <a:spLocks/>
            </p:cNvSpPr>
            <p:nvPr/>
          </p:nvSpPr>
          <p:spPr bwMode="auto">
            <a:xfrm>
              <a:off x="3100615" y="5361254"/>
              <a:ext cx="63500" cy="242888"/>
            </a:xfrm>
            <a:custGeom>
              <a:avLst/>
              <a:gdLst>
                <a:gd name="T0" fmla="*/ 78 w 226"/>
                <a:gd name="T1" fmla="*/ 0 h 846"/>
                <a:gd name="T2" fmla="*/ 0 w 226"/>
                <a:gd name="T3" fmla="*/ 78 h 846"/>
                <a:gd name="T4" fmla="*/ 0 w 226"/>
                <a:gd name="T5" fmla="*/ 807 h 846"/>
                <a:gd name="T6" fmla="*/ 40 w 226"/>
                <a:gd name="T7" fmla="*/ 846 h 846"/>
                <a:gd name="T8" fmla="*/ 186 w 226"/>
                <a:gd name="T9" fmla="*/ 846 h 846"/>
                <a:gd name="T10" fmla="*/ 226 w 226"/>
                <a:gd name="T11" fmla="*/ 807 h 846"/>
                <a:gd name="T12" fmla="*/ 226 w 226"/>
                <a:gd name="T13" fmla="*/ 56 h 846"/>
                <a:gd name="T14" fmla="*/ 173 w 226"/>
                <a:gd name="T15" fmla="*/ 71 h 846"/>
                <a:gd name="T16" fmla="*/ 78 w 226"/>
                <a:gd name="T17" fmla="*/ 0 h 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6" h="846">
                  <a:moveTo>
                    <a:pt x="78" y="0"/>
                  </a:moveTo>
                  <a:cubicBezTo>
                    <a:pt x="0" y="78"/>
                    <a:pt x="0" y="78"/>
                    <a:pt x="0" y="78"/>
                  </a:cubicBezTo>
                  <a:cubicBezTo>
                    <a:pt x="0" y="807"/>
                    <a:pt x="0" y="807"/>
                    <a:pt x="0" y="807"/>
                  </a:cubicBezTo>
                  <a:cubicBezTo>
                    <a:pt x="0" y="829"/>
                    <a:pt x="18" y="846"/>
                    <a:pt x="40" y="846"/>
                  </a:cubicBezTo>
                  <a:cubicBezTo>
                    <a:pt x="186" y="846"/>
                    <a:pt x="186" y="846"/>
                    <a:pt x="186" y="846"/>
                  </a:cubicBezTo>
                  <a:cubicBezTo>
                    <a:pt x="208" y="846"/>
                    <a:pt x="226" y="829"/>
                    <a:pt x="226" y="807"/>
                  </a:cubicBezTo>
                  <a:cubicBezTo>
                    <a:pt x="226" y="56"/>
                    <a:pt x="226" y="56"/>
                    <a:pt x="226" y="56"/>
                  </a:cubicBezTo>
                  <a:cubicBezTo>
                    <a:pt x="210" y="65"/>
                    <a:pt x="193" y="71"/>
                    <a:pt x="173" y="71"/>
                  </a:cubicBezTo>
                  <a:cubicBezTo>
                    <a:pt x="129" y="71"/>
                    <a:pt x="91" y="41"/>
                    <a:pt x="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</a:endParaRPr>
            </a:p>
          </p:txBody>
        </p:sp>
        <p:sp>
          <p:nvSpPr>
            <p:cNvPr id="81" name="Freeform 19"/>
            <p:cNvSpPr>
              <a:spLocks/>
            </p:cNvSpPr>
            <p:nvPr/>
          </p:nvSpPr>
          <p:spPr bwMode="auto">
            <a:xfrm>
              <a:off x="2805353" y="5270765"/>
              <a:ext cx="360363" cy="254000"/>
            </a:xfrm>
            <a:custGeom>
              <a:avLst/>
              <a:gdLst>
                <a:gd name="T0" fmla="*/ 73 w 1256"/>
                <a:gd name="T1" fmla="*/ 890 h 890"/>
                <a:gd name="T2" fmla="*/ 119 w 1256"/>
                <a:gd name="T3" fmla="*/ 871 h 890"/>
                <a:gd name="T4" fmla="*/ 522 w 1256"/>
                <a:gd name="T5" fmla="*/ 469 h 890"/>
                <a:gd name="T6" fmla="*/ 659 w 1256"/>
                <a:gd name="T7" fmla="*/ 606 h 890"/>
                <a:gd name="T8" fmla="*/ 706 w 1256"/>
                <a:gd name="T9" fmla="*/ 626 h 890"/>
                <a:gd name="T10" fmla="*/ 752 w 1256"/>
                <a:gd name="T11" fmla="*/ 606 h 890"/>
                <a:gd name="T12" fmla="*/ 1150 w 1256"/>
                <a:gd name="T13" fmla="*/ 209 h 890"/>
                <a:gd name="T14" fmla="*/ 1150 w 1256"/>
                <a:gd name="T15" fmla="*/ 288 h 890"/>
                <a:gd name="T16" fmla="*/ 1202 w 1256"/>
                <a:gd name="T17" fmla="*/ 341 h 890"/>
                <a:gd name="T18" fmla="*/ 1255 w 1256"/>
                <a:gd name="T19" fmla="*/ 288 h 890"/>
                <a:gd name="T20" fmla="*/ 1255 w 1256"/>
                <a:gd name="T21" fmla="*/ 85 h 890"/>
                <a:gd name="T22" fmla="*/ 1255 w 1256"/>
                <a:gd name="T23" fmla="*/ 64 h 890"/>
                <a:gd name="T24" fmla="*/ 1255 w 1256"/>
                <a:gd name="T25" fmla="*/ 53 h 890"/>
                <a:gd name="T26" fmla="*/ 1202 w 1256"/>
                <a:gd name="T27" fmla="*/ 0 h 890"/>
                <a:gd name="T28" fmla="*/ 963 w 1256"/>
                <a:gd name="T29" fmla="*/ 0 h 890"/>
                <a:gd name="T30" fmla="*/ 910 w 1256"/>
                <a:gd name="T31" fmla="*/ 53 h 890"/>
                <a:gd name="T32" fmla="*/ 963 w 1256"/>
                <a:gd name="T33" fmla="*/ 106 h 890"/>
                <a:gd name="T34" fmla="*/ 1065 w 1256"/>
                <a:gd name="T35" fmla="*/ 106 h 890"/>
                <a:gd name="T36" fmla="*/ 705 w 1256"/>
                <a:gd name="T37" fmla="*/ 466 h 890"/>
                <a:gd name="T38" fmla="*/ 568 w 1256"/>
                <a:gd name="T39" fmla="*/ 329 h 890"/>
                <a:gd name="T40" fmla="*/ 522 w 1256"/>
                <a:gd name="T41" fmla="*/ 309 h 890"/>
                <a:gd name="T42" fmla="*/ 475 w 1256"/>
                <a:gd name="T43" fmla="*/ 329 h 890"/>
                <a:gd name="T44" fmla="*/ 26 w 1256"/>
                <a:gd name="T45" fmla="*/ 777 h 890"/>
                <a:gd name="T46" fmla="*/ 26 w 1256"/>
                <a:gd name="T47" fmla="*/ 871 h 890"/>
                <a:gd name="T48" fmla="*/ 73 w 1256"/>
                <a:gd name="T49" fmla="*/ 890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56" h="890">
                  <a:moveTo>
                    <a:pt x="73" y="890"/>
                  </a:moveTo>
                  <a:cubicBezTo>
                    <a:pt x="90" y="890"/>
                    <a:pt x="107" y="884"/>
                    <a:pt x="119" y="871"/>
                  </a:cubicBezTo>
                  <a:cubicBezTo>
                    <a:pt x="522" y="469"/>
                    <a:pt x="522" y="469"/>
                    <a:pt x="522" y="469"/>
                  </a:cubicBezTo>
                  <a:cubicBezTo>
                    <a:pt x="659" y="606"/>
                    <a:pt x="659" y="606"/>
                    <a:pt x="659" y="606"/>
                  </a:cubicBezTo>
                  <a:cubicBezTo>
                    <a:pt x="671" y="619"/>
                    <a:pt x="688" y="626"/>
                    <a:pt x="706" y="626"/>
                  </a:cubicBezTo>
                  <a:cubicBezTo>
                    <a:pt x="723" y="626"/>
                    <a:pt x="740" y="619"/>
                    <a:pt x="752" y="606"/>
                  </a:cubicBezTo>
                  <a:cubicBezTo>
                    <a:pt x="1150" y="209"/>
                    <a:pt x="1150" y="209"/>
                    <a:pt x="1150" y="209"/>
                  </a:cubicBezTo>
                  <a:cubicBezTo>
                    <a:pt x="1150" y="288"/>
                    <a:pt x="1150" y="288"/>
                    <a:pt x="1150" y="288"/>
                  </a:cubicBezTo>
                  <a:cubicBezTo>
                    <a:pt x="1150" y="317"/>
                    <a:pt x="1173" y="341"/>
                    <a:pt x="1202" y="341"/>
                  </a:cubicBezTo>
                  <a:cubicBezTo>
                    <a:pt x="1232" y="341"/>
                    <a:pt x="1255" y="317"/>
                    <a:pt x="1255" y="288"/>
                  </a:cubicBezTo>
                  <a:cubicBezTo>
                    <a:pt x="1255" y="85"/>
                    <a:pt x="1255" y="85"/>
                    <a:pt x="1255" y="85"/>
                  </a:cubicBezTo>
                  <a:cubicBezTo>
                    <a:pt x="1256" y="78"/>
                    <a:pt x="1256" y="71"/>
                    <a:pt x="1255" y="64"/>
                  </a:cubicBezTo>
                  <a:cubicBezTo>
                    <a:pt x="1255" y="53"/>
                    <a:pt x="1255" y="53"/>
                    <a:pt x="1255" y="53"/>
                  </a:cubicBezTo>
                  <a:cubicBezTo>
                    <a:pt x="1255" y="24"/>
                    <a:pt x="1232" y="0"/>
                    <a:pt x="1202" y="0"/>
                  </a:cubicBezTo>
                  <a:cubicBezTo>
                    <a:pt x="963" y="0"/>
                    <a:pt x="963" y="0"/>
                    <a:pt x="963" y="0"/>
                  </a:cubicBezTo>
                  <a:cubicBezTo>
                    <a:pt x="934" y="0"/>
                    <a:pt x="910" y="24"/>
                    <a:pt x="910" y="53"/>
                  </a:cubicBezTo>
                  <a:cubicBezTo>
                    <a:pt x="910" y="82"/>
                    <a:pt x="934" y="106"/>
                    <a:pt x="963" y="106"/>
                  </a:cubicBezTo>
                  <a:cubicBezTo>
                    <a:pt x="1065" y="106"/>
                    <a:pt x="1065" y="106"/>
                    <a:pt x="1065" y="106"/>
                  </a:cubicBezTo>
                  <a:cubicBezTo>
                    <a:pt x="705" y="466"/>
                    <a:pt x="705" y="466"/>
                    <a:pt x="705" y="466"/>
                  </a:cubicBezTo>
                  <a:cubicBezTo>
                    <a:pt x="568" y="329"/>
                    <a:pt x="568" y="329"/>
                    <a:pt x="568" y="329"/>
                  </a:cubicBezTo>
                  <a:cubicBezTo>
                    <a:pt x="555" y="316"/>
                    <a:pt x="538" y="309"/>
                    <a:pt x="522" y="309"/>
                  </a:cubicBezTo>
                  <a:cubicBezTo>
                    <a:pt x="505" y="309"/>
                    <a:pt x="488" y="316"/>
                    <a:pt x="475" y="329"/>
                  </a:cubicBezTo>
                  <a:cubicBezTo>
                    <a:pt x="26" y="777"/>
                    <a:pt x="26" y="777"/>
                    <a:pt x="26" y="777"/>
                  </a:cubicBezTo>
                  <a:cubicBezTo>
                    <a:pt x="0" y="803"/>
                    <a:pt x="0" y="845"/>
                    <a:pt x="26" y="871"/>
                  </a:cubicBezTo>
                  <a:cubicBezTo>
                    <a:pt x="39" y="884"/>
                    <a:pt x="56" y="890"/>
                    <a:pt x="73" y="8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1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ahoma" panose="020B0604030504040204" pitchFamily="34" charset="0"/>
              </a:endParaRPr>
            </a:p>
          </p:txBody>
        </p:sp>
      </p:grpSp>
      <p:sp>
        <p:nvSpPr>
          <p:cNvPr id="88" name="Прямоугольник 87"/>
          <p:cNvSpPr/>
          <p:nvPr/>
        </p:nvSpPr>
        <p:spPr>
          <a:xfrm>
            <a:off x="5711328" y="3603898"/>
            <a:ext cx="238276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/>
            <a:r>
              <a:rPr lang="ru-RU" sz="12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23 год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– 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319,4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лрд. </a:t>
            </a:r>
            <a:r>
              <a:rPr lang="ru-RU" sz="1200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тенге</a:t>
            </a:r>
          </a:p>
          <a:p>
            <a:pPr defTabSz="914436"/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24 год – 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333,8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лрд. тенге</a:t>
            </a:r>
          </a:p>
          <a:p>
            <a:pPr defTabSz="914436"/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25 год – 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345,5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лрд. тенге</a:t>
            </a:r>
          </a:p>
        </p:txBody>
      </p:sp>
      <p:sp>
        <p:nvSpPr>
          <p:cNvPr id="89" name="TextBox 17"/>
          <p:cNvSpPr txBox="1">
            <a:spLocks noChangeArrowheads="1"/>
          </p:cNvSpPr>
          <p:nvPr/>
        </p:nvSpPr>
        <p:spPr bwMode="auto">
          <a:xfrm>
            <a:off x="5200233" y="1142564"/>
            <a:ext cx="3524671" cy="615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600" b="1" kern="0" noProof="0" dirty="0" smtClean="0">
                <a:solidFill>
                  <a:schemeClr val="accent5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Т</a:t>
            </a: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емп роста по доходам за предыдущие 3</a:t>
            </a:r>
            <a:r>
              <a:rPr kumimoji="0" lang="ru-RU" altLang="ru-RU" sz="1600" b="1" i="0" u="none" strike="noStrike" kern="0" cap="none" spc="0" normalizeH="0" noProof="0" dirty="0" smtClean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 года</a:t>
            </a:r>
            <a:endParaRPr kumimoji="0" lang="ru-RU" altLang="ru-RU" sz="1600" b="1" i="0" u="none" strike="noStrike" kern="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0" name="TextBox 17"/>
          <p:cNvSpPr txBox="1">
            <a:spLocks noChangeArrowheads="1"/>
          </p:cNvSpPr>
          <p:nvPr/>
        </p:nvSpPr>
        <p:spPr bwMode="auto">
          <a:xfrm>
            <a:off x="7894062" y="1588470"/>
            <a:ext cx="1064283" cy="400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124,0</a:t>
            </a: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%</a:t>
            </a:r>
            <a:endParaRPr kumimoji="0" lang="ru-RU" altLang="ru-RU" sz="14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2" name="Полилиния 81"/>
          <p:cNvSpPr/>
          <p:nvPr/>
        </p:nvSpPr>
        <p:spPr>
          <a:xfrm>
            <a:off x="4914900" y="1940300"/>
            <a:ext cx="3511550" cy="1256590"/>
          </a:xfrm>
          <a:custGeom>
            <a:avLst/>
            <a:gdLst>
              <a:gd name="connsiteX0" fmla="*/ 0 w 3096285"/>
              <a:gd name="connsiteY0" fmla="*/ 1774480 h 1774480"/>
              <a:gd name="connsiteX1" fmla="*/ 1539089 w 3096285"/>
              <a:gd name="connsiteY1" fmla="*/ 1213165 h 1774480"/>
              <a:gd name="connsiteX2" fmla="*/ 3096285 w 3096285"/>
              <a:gd name="connsiteY2" fmla="*/ 0 h 17744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096285" h="1774480">
                <a:moveTo>
                  <a:pt x="0" y="1774480"/>
                </a:moveTo>
                <a:cubicBezTo>
                  <a:pt x="511521" y="1641696"/>
                  <a:pt x="1023042" y="1508912"/>
                  <a:pt x="1539089" y="1213165"/>
                </a:cubicBezTo>
                <a:cubicBezTo>
                  <a:pt x="2055136" y="917418"/>
                  <a:pt x="2575710" y="458709"/>
                  <a:pt x="3096285" y="0"/>
                </a:cubicBezTo>
              </a:path>
            </a:pathLst>
          </a:custGeom>
          <a:noFill/>
          <a:ln w="158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TextBox 17"/>
          <p:cNvSpPr txBox="1">
            <a:spLocks noChangeArrowheads="1"/>
          </p:cNvSpPr>
          <p:nvPr/>
        </p:nvSpPr>
        <p:spPr bwMode="auto">
          <a:xfrm>
            <a:off x="4544312" y="3172889"/>
            <a:ext cx="796654" cy="276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2019 год</a:t>
            </a:r>
            <a:endParaRPr kumimoji="0" lang="ru-RU" altLang="ru-RU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4" name="TextBox 17"/>
          <p:cNvSpPr txBox="1">
            <a:spLocks noChangeArrowheads="1"/>
          </p:cNvSpPr>
          <p:nvPr/>
        </p:nvSpPr>
        <p:spPr bwMode="auto">
          <a:xfrm>
            <a:off x="8068689" y="2003729"/>
            <a:ext cx="796654" cy="276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2021 год</a:t>
            </a:r>
            <a:endParaRPr kumimoji="0" lang="ru-RU" altLang="ru-RU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5" name="TextBox 17"/>
          <p:cNvSpPr txBox="1">
            <a:spLocks noChangeArrowheads="1"/>
          </p:cNvSpPr>
          <p:nvPr/>
        </p:nvSpPr>
        <p:spPr bwMode="auto">
          <a:xfrm>
            <a:off x="4475183" y="2797719"/>
            <a:ext cx="911010" cy="369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108,0</a:t>
            </a: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kumimoji="0" lang="ru-RU" alt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%</a:t>
            </a:r>
            <a:endParaRPr kumimoji="0" lang="ru-RU" altLang="ru-RU" sz="1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cxnSp>
        <p:nvCxnSpPr>
          <p:cNvPr id="86" name="Прямая соединительная линия 85"/>
          <p:cNvCxnSpPr/>
          <p:nvPr/>
        </p:nvCxnSpPr>
        <p:spPr>
          <a:xfrm>
            <a:off x="4639248" y="3200829"/>
            <a:ext cx="3888000" cy="6440"/>
          </a:xfrm>
          <a:prstGeom prst="line">
            <a:avLst/>
          </a:prstGeom>
          <a:ln w="1587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TextBox 17"/>
          <p:cNvSpPr txBox="1">
            <a:spLocks noChangeArrowheads="1"/>
          </p:cNvSpPr>
          <p:nvPr/>
        </p:nvSpPr>
        <p:spPr bwMode="auto">
          <a:xfrm>
            <a:off x="6458230" y="2756293"/>
            <a:ext cx="2214264" cy="2769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altLang="ru-RU" sz="1000" kern="0" noProof="0" dirty="0" smtClean="0">
                <a:latin typeface="Arial" panose="020B0604020202020204" pitchFamily="34" charset="0"/>
                <a:ea typeface="ＭＳ Ｐゴシック" panose="020B0600070205080204" pitchFamily="34" charset="-128"/>
              </a:rPr>
              <a:t>Средний т</a:t>
            </a:r>
            <a:r>
              <a:rPr kumimoji="0" lang="ru-RU" altLang="ru-RU" sz="100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емп роста по доходам</a:t>
            </a:r>
            <a:endParaRPr kumimoji="0" lang="ru-RU" altLang="ru-RU" sz="10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91" name="TextBox 17"/>
          <p:cNvSpPr txBox="1">
            <a:spLocks noChangeArrowheads="1"/>
          </p:cNvSpPr>
          <p:nvPr/>
        </p:nvSpPr>
        <p:spPr bwMode="auto">
          <a:xfrm>
            <a:off x="7211875" y="2890501"/>
            <a:ext cx="911010" cy="3693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891" tIns="60945" rIns="121891" bIns="60945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119,0</a:t>
            </a: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 </a:t>
            </a:r>
            <a:r>
              <a:rPr kumimoji="0" lang="ru-RU" alt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</a:rPr>
              <a:t>%</a:t>
            </a:r>
            <a:endParaRPr kumimoji="0" lang="ru-RU" altLang="ru-RU" sz="1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18568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1" name="Прямая соединительная линия 240"/>
          <p:cNvCxnSpPr/>
          <p:nvPr/>
        </p:nvCxnSpPr>
        <p:spPr>
          <a:xfrm flipH="1" flipV="1">
            <a:off x="2902266" y="2580357"/>
            <a:ext cx="626250" cy="213643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4" name="Прямая соединительная линия 233"/>
          <p:cNvCxnSpPr/>
          <p:nvPr/>
        </p:nvCxnSpPr>
        <p:spPr>
          <a:xfrm flipH="1" flipV="1">
            <a:off x="3115242" y="2067673"/>
            <a:ext cx="641871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Прямая соединительная линия 219"/>
          <p:cNvCxnSpPr/>
          <p:nvPr/>
        </p:nvCxnSpPr>
        <p:spPr>
          <a:xfrm flipH="1" flipV="1">
            <a:off x="2886645" y="1364019"/>
            <a:ext cx="641871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Прямая соединительная линия 214"/>
          <p:cNvCxnSpPr/>
          <p:nvPr/>
        </p:nvCxnSpPr>
        <p:spPr>
          <a:xfrm flipH="1" flipV="1">
            <a:off x="1424199" y="1365488"/>
            <a:ext cx="641871" cy="0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2345FB-3457-472F-A56F-E044CDF1808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85432" y="57955"/>
            <a:ext cx="8612526" cy="609955"/>
          </a:xfrm>
        </p:spPr>
        <p:txBody>
          <a:bodyPr anchor="ctr"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мизация встречных финансовых потоков</a:t>
            </a:r>
            <a:endParaRPr lang="ru-RU" sz="1000" b="1" i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201440" y="1166622"/>
            <a:ext cx="3532736" cy="13696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b="1" dirty="0">
                <a:solidFill>
                  <a:schemeClr val="accent5"/>
                </a:solidFill>
                <a:latin typeface="Arial" panose="020B0604020202020204" pitchFamily="34" charset="0"/>
              </a:rPr>
              <a:t>В базу расходов местных бюджетов включены целевые текущие трансферты: </a:t>
            </a:r>
          </a:p>
          <a:p>
            <a:pPr algn="just"/>
            <a:r>
              <a:rPr lang="ru-RU" sz="1600" dirty="0" smtClean="0">
                <a:latin typeface="Arial" panose="020B0604020202020204" pitchFamily="34" charset="0"/>
              </a:rPr>
              <a:t>в 202</a:t>
            </a:r>
            <a:r>
              <a:rPr lang="en-US" sz="1600" dirty="0" smtClean="0">
                <a:latin typeface="Arial" panose="020B0604020202020204" pitchFamily="34" charset="0"/>
              </a:rPr>
              <a:t>3</a:t>
            </a:r>
            <a:r>
              <a:rPr lang="ru-RU" sz="1600" dirty="0" smtClean="0">
                <a:latin typeface="Arial" panose="020B0604020202020204" pitchFamily="34" charset="0"/>
              </a:rPr>
              <a:t> году – </a:t>
            </a:r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</a:rPr>
              <a:t>2 794,8</a:t>
            </a:r>
            <a:r>
              <a:rPr lang="ru-RU" sz="1600" dirty="0">
                <a:latin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</a:rPr>
              <a:t>млрд. тенге</a:t>
            </a:r>
            <a:endParaRPr lang="ru-RU" sz="1600" dirty="0">
              <a:latin typeface="Arial" panose="020B0604020202020204" pitchFamily="34" charset="0"/>
            </a:endParaRPr>
          </a:p>
          <a:p>
            <a:pPr algn="just"/>
            <a:r>
              <a:rPr lang="ru-RU" sz="1600" dirty="0" smtClean="0">
                <a:latin typeface="Arial" panose="020B0604020202020204" pitchFamily="34" charset="0"/>
              </a:rPr>
              <a:t>в 202</a:t>
            </a:r>
            <a:r>
              <a:rPr lang="en-US" sz="1600" dirty="0" smtClean="0">
                <a:latin typeface="Arial" panose="020B0604020202020204" pitchFamily="34" charset="0"/>
              </a:rPr>
              <a:t>4</a:t>
            </a:r>
            <a:r>
              <a:rPr lang="ru-RU" sz="1600" dirty="0" smtClean="0">
                <a:latin typeface="Arial" panose="020B0604020202020204" pitchFamily="34" charset="0"/>
              </a:rPr>
              <a:t> году </a:t>
            </a:r>
            <a:r>
              <a:rPr lang="ru-RU" sz="1600" dirty="0">
                <a:latin typeface="Arial" panose="020B0604020202020204" pitchFamily="34" charset="0"/>
              </a:rPr>
              <a:t>– </a:t>
            </a:r>
            <a:r>
              <a:rPr lang="en-US" b="1" dirty="0">
                <a:solidFill>
                  <a:srgbClr val="00B050"/>
                </a:solidFill>
                <a:latin typeface="Arial" panose="020B0604020202020204" pitchFamily="34" charset="0"/>
              </a:rPr>
              <a:t>3 </a:t>
            </a:r>
            <a:r>
              <a:rPr lang="en-US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166,5</a:t>
            </a:r>
            <a:r>
              <a:rPr lang="ru-RU" sz="1600" dirty="0" smtClean="0">
                <a:latin typeface="Arial" panose="020B0604020202020204" pitchFamily="34" charset="0"/>
              </a:rPr>
              <a:t> млрд. тенге</a:t>
            </a:r>
            <a:endParaRPr lang="ru-RU" sz="1600" dirty="0">
              <a:latin typeface="Arial" panose="020B0604020202020204" pitchFamily="34" charset="0"/>
            </a:endParaRPr>
          </a:p>
          <a:p>
            <a:pPr algn="just"/>
            <a:r>
              <a:rPr lang="ru-RU" sz="1600" dirty="0" smtClean="0">
                <a:latin typeface="Arial" panose="020B0604020202020204" pitchFamily="34" charset="0"/>
              </a:rPr>
              <a:t>в 202</a:t>
            </a:r>
            <a:r>
              <a:rPr lang="en-US" sz="1600" dirty="0" smtClean="0">
                <a:latin typeface="Arial" panose="020B0604020202020204" pitchFamily="34" charset="0"/>
              </a:rPr>
              <a:t>5</a:t>
            </a:r>
            <a:r>
              <a:rPr lang="ru-RU" sz="1600" dirty="0" smtClean="0">
                <a:latin typeface="Arial" panose="020B0604020202020204" pitchFamily="34" charset="0"/>
              </a:rPr>
              <a:t> году </a:t>
            </a:r>
            <a:r>
              <a:rPr lang="ru-RU" sz="1600" dirty="0">
                <a:latin typeface="Arial" panose="020B0604020202020204" pitchFamily="34" charset="0"/>
              </a:rPr>
              <a:t>– </a:t>
            </a:r>
            <a:r>
              <a:rPr lang="en-US" b="1" dirty="0">
                <a:solidFill>
                  <a:srgbClr val="00B050"/>
                </a:solidFill>
                <a:latin typeface="Arial" panose="020B0604020202020204" pitchFamily="34" charset="0"/>
              </a:rPr>
              <a:t>3 581,4</a:t>
            </a:r>
            <a:r>
              <a:rPr lang="ru-RU" dirty="0" smtClean="0">
                <a:latin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</a:rPr>
              <a:t>млрд. тенге</a:t>
            </a:r>
            <a:endParaRPr lang="ru-RU" sz="1600" dirty="0"/>
          </a:p>
        </p:txBody>
      </p:sp>
      <p:cxnSp>
        <p:nvCxnSpPr>
          <p:cNvPr id="188" name="Прямая соединительная линия 187"/>
          <p:cNvCxnSpPr/>
          <p:nvPr/>
        </p:nvCxnSpPr>
        <p:spPr>
          <a:xfrm flipH="1">
            <a:off x="494459" y="2942823"/>
            <a:ext cx="8136000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60788">
            <a:off x="1130417" y="1127257"/>
            <a:ext cx="2565013" cy="1709368"/>
          </a:xfrm>
          <a:prstGeom prst="rect">
            <a:avLst/>
          </a:prstGeom>
        </p:spPr>
      </p:pic>
      <p:sp>
        <p:nvSpPr>
          <p:cNvPr id="194" name="Прямоугольник 193"/>
          <p:cNvSpPr/>
          <p:nvPr/>
        </p:nvSpPr>
        <p:spPr>
          <a:xfrm>
            <a:off x="480904" y="744717"/>
            <a:ext cx="8193017" cy="338554"/>
          </a:xfrm>
          <a:prstGeom prst="rect">
            <a:avLst/>
          </a:prstGeom>
          <a:pattFill prst="dkUpDiag">
            <a:fgClr>
              <a:srgbClr val="D5F2FC"/>
            </a:fgClr>
            <a:bgClr>
              <a:sysClr val="window" lastClr="FFFFFF"/>
            </a:bgClr>
          </a:pattFill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ctr" defTabSz="914436">
              <a:buClr>
                <a:srgbClr val="00B050"/>
              </a:buClr>
              <a:defRPr/>
            </a:pPr>
            <a:r>
              <a:rPr lang="ru-RU" sz="16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Передача</a:t>
            </a:r>
            <a:r>
              <a:rPr lang="ru-RU" sz="1600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600" b="1" kern="0" dirty="0" smtClean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целевых текущих трансфертов</a:t>
            </a:r>
            <a:r>
              <a:rPr lang="ru-RU" sz="1600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6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в ТОХ на 2023-2025 годы</a:t>
            </a:r>
          </a:p>
        </p:txBody>
      </p:sp>
      <p:sp>
        <p:nvSpPr>
          <p:cNvPr id="200" name="Прямоугольник 199"/>
          <p:cNvSpPr/>
          <p:nvPr/>
        </p:nvSpPr>
        <p:spPr>
          <a:xfrm>
            <a:off x="480904" y="3035431"/>
            <a:ext cx="8193017" cy="338554"/>
          </a:xfrm>
          <a:prstGeom prst="rect">
            <a:avLst/>
          </a:prstGeom>
          <a:pattFill prst="dkUpDiag">
            <a:fgClr>
              <a:srgbClr val="D5F2FC"/>
            </a:fgClr>
            <a:bgClr>
              <a:sysClr val="window" lastClr="FFFFFF"/>
            </a:bgClr>
          </a:pattFill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marL="179388" algn="ctr" defTabSz="687391" fontAlgn="b">
              <a:spcBef>
                <a:spcPts val="0"/>
              </a:spcBef>
              <a:spcAft>
                <a:spcPts val="1000"/>
              </a:spcAft>
              <a:buClr>
                <a:schemeClr val="accent5"/>
              </a:buClr>
              <a:defRPr/>
            </a:pPr>
            <a:r>
              <a:rPr lang="ru-RU" sz="1600" b="1" dirty="0">
                <a:latin typeface="Arial" panose="020B0604020202020204" pitchFamily="34" charset="0"/>
              </a:rPr>
              <a:t>Снижение объема </a:t>
            </a:r>
            <a:r>
              <a:rPr lang="ru-RU" sz="1600" b="1" dirty="0">
                <a:solidFill>
                  <a:schemeClr val="accent5"/>
                </a:solidFill>
                <a:latin typeface="Arial" panose="020B0604020202020204" pitchFamily="34" charset="0"/>
              </a:rPr>
              <a:t>бюджетных изъятий </a:t>
            </a:r>
            <a:r>
              <a:rPr lang="ru-RU" sz="16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регионов-доноров</a:t>
            </a:r>
            <a:endParaRPr lang="ru-RU" sz="1600" dirty="0">
              <a:latin typeface="Arial" panose="020B0604020202020204" pitchFamily="34" charset="0"/>
            </a:endParaRPr>
          </a:p>
        </p:txBody>
      </p:sp>
      <p:sp>
        <p:nvSpPr>
          <p:cNvPr id="202" name="Прямоугольник 201"/>
          <p:cNvSpPr/>
          <p:nvPr/>
        </p:nvSpPr>
        <p:spPr>
          <a:xfrm>
            <a:off x="1844266" y="1687862"/>
            <a:ext cx="11373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 smtClean="0">
                <a:latin typeface="Arial" panose="020B0604020202020204" pitchFamily="34" charset="0"/>
              </a:rPr>
              <a:t>База</a:t>
            </a:r>
          </a:p>
          <a:p>
            <a:pPr algn="ctr"/>
            <a:r>
              <a:rPr lang="ru-RU" sz="1000" dirty="0" smtClean="0">
                <a:latin typeface="Arial" panose="020B0604020202020204" pitchFamily="34" charset="0"/>
              </a:rPr>
              <a:t>расходов МБ</a:t>
            </a:r>
          </a:p>
          <a:p>
            <a:pPr algn="ctr"/>
            <a:r>
              <a:rPr lang="ru-RU" sz="1000" dirty="0" smtClean="0">
                <a:latin typeface="Arial" panose="020B0604020202020204" pitchFamily="34" charset="0"/>
              </a:rPr>
              <a:t>2023 года</a:t>
            </a:r>
            <a:endParaRPr lang="ru-RU" sz="1000" dirty="0"/>
          </a:p>
        </p:txBody>
      </p:sp>
      <p:sp>
        <p:nvSpPr>
          <p:cNvPr id="209" name="Прямоугольник 208"/>
          <p:cNvSpPr/>
          <p:nvPr/>
        </p:nvSpPr>
        <p:spPr>
          <a:xfrm>
            <a:off x="408942" y="1163964"/>
            <a:ext cx="997389" cy="116955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</a:rPr>
              <a:t>Увеличение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оплаты труда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педагогов,</a:t>
            </a:r>
          </a:p>
          <a:p>
            <a:r>
              <a:rPr lang="ru-RU" sz="1000" dirty="0">
                <a:latin typeface="Arial" panose="020B0604020202020204" pitchFamily="34" charset="0"/>
              </a:rPr>
              <a:t>м</a:t>
            </a:r>
            <a:r>
              <a:rPr lang="ru-RU" sz="1000" dirty="0" smtClean="0">
                <a:latin typeface="Arial" panose="020B0604020202020204" pitchFamily="34" charset="0"/>
              </a:rPr>
              <a:t>едицинских</a:t>
            </a:r>
          </a:p>
          <a:p>
            <a:r>
              <a:rPr lang="ru-RU" sz="1000" dirty="0">
                <a:latin typeface="Arial" panose="020B0604020202020204" pitchFamily="34" charset="0"/>
              </a:rPr>
              <a:t>р</a:t>
            </a:r>
            <a:r>
              <a:rPr lang="ru-RU" sz="1000" dirty="0" smtClean="0">
                <a:latin typeface="Arial" panose="020B0604020202020204" pitchFamily="34" charset="0"/>
              </a:rPr>
              <a:t>аботников,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гражданских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служащих</a:t>
            </a:r>
            <a:endParaRPr lang="ru-RU" sz="1000" dirty="0"/>
          </a:p>
        </p:txBody>
      </p:sp>
      <p:sp>
        <p:nvSpPr>
          <p:cNvPr id="218" name="Овал 217"/>
          <p:cNvSpPr/>
          <p:nvPr/>
        </p:nvSpPr>
        <p:spPr>
          <a:xfrm>
            <a:off x="1388463" y="1328019"/>
            <a:ext cx="72000" cy="720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6" name="Овал 225"/>
          <p:cNvSpPr/>
          <p:nvPr/>
        </p:nvSpPr>
        <p:spPr>
          <a:xfrm>
            <a:off x="3492516" y="1328019"/>
            <a:ext cx="72000" cy="720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2" name="Прямоугольник 231"/>
          <p:cNvSpPr/>
          <p:nvPr/>
        </p:nvSpPr>
        <p:spPr>
          <a:xfrm>
            <a:off x="3793113" y="1806520"/>
            <a:ext cx="143440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</a:rPr>
              <a:t>Финансирование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социальной,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инженерной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и транспортной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инфраструктуры</a:t>
            </a:r>
            <a:endParaRPr lang="ru-RU" sz="1000" dirty="0"/>
          </a:p>
        </p:txBody>
      </p:sp>
      <p:sp>
        <p:nvSpPr>
          <p:cNvPr id="235" name="Овал 234"/>
          <p:cNvSpPr/>
          <p:nvPr/>
        </p:nvSpPr>
        <p:spPr>
          <a:xfrm>
            <a:off x="3721113" y="2031673"/>
            <a:ext cx="72000" cy="720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8" name="Прямоугольник 237"/>
          <p:cNvSpPr/>
          <p:nvPr/>
        </p:nvSpPr>
        <p:spPr>
          <a:xfrm>
            <a:off x="3602925" y="1108567"/>
            <a:ext cx="1598515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</a:rPr>
              <a:t>Гос. образовательный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заказ, субсидирование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АПК, закуп вакцин и др.</a:t>
            </a:r>
          </a:p>
          <a:p>
            <a:r>
              <a:rPr lang="ru-RU" sz="1000" dirty="0">
                <a:latin typeface="Arial" panose="020B0604020202020204" pitchFamily="34" charset="0"/>
              </a:rPr>
              <a:t>п</a:t>
            </a:r>
            <a:r>
              <a:rPr lang="ru-RU" sz="1000" dirty="0" smtClean="0">
                <a:latin typeface="Arial" panose="020B0604020202020204" pitchFamily="34" charset="0"/>
              </a:rPr>
              <a:t>репаратов, АСП и др.</a:t>
            </a:r>
            <a:endParaRPr lang="ru-RU" sz="1000" dirty="0"/>
          </a:p>
        </p:txBody>
      </p:sp>
      <p:sp>
        <p:nvSpPr>
          <p:cNvPr id="243" name="Овал 242"/>
          <p:cNvSpPr/>
          <p:nvPr/>
        </p:nvSpPr>
        <p:spPr>
          <a:xfrm>
            <a:off x="3506490" y="2770454"/>
            <a:ext cx="72000" cy="7200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4" name="Прямоугольник 243"/>
          <p:cNvSpPr/>
          <p:nvPr/>
        </p:nvSpPr>
        <p:spPr>
          <a:xfrm>
            <a:off x="3593353" y="2684215"/>
            <a:ext cx="59503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</a:rPr>
              <a:t>Другие</a:t>
            </a:r>
            <a:endParaRPr lang="ru-RU" sz="1000" dirty="0"/>
          </a:p>
        </p:txBody>
      </p:sp>
      <p:sp>
        <p:nvSpPr>
          <p:cNvPr id="247" name="Прямоугольник 246"/>
          <p:cNvSpPr/>
          <p:nvPr/>
        </p:nvSpPr>
        <p:spPr>
          <a:xfrm>
            <a:off x="1563646" y="1701302"/>
            <a:ext cx="5453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Arial" panose="020B0604020202020204" pitchFamily="34" charset="0"/>
              </a:rPr>
              <a:t>65,9%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50" name="Прямоугольник 249"/>
          <p:cNvSpPr/>
          <p:nvPr/>
        </p:nvSpPr>
        <p:spPr>
          <a:xfrm>
            <a:off x="2473483" y="1349034"/>
            <a:ext cx="54534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Arial" panose="020B0604020202020204" pitchFamily="34" charset="0"/>
              </a:rPr>
              <a:t>17,0%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52" name="Прямоугольник 251"/>
          <p:cNvSpPr/>
          <p:nvPr/>
        </p:nvSpPr>
        <p:spPr>
          <a:xfrm>
            <a:off x="2796954" y="1888731"/>
            <a:ext cx="4748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Arial" panose="020B0604020202020204" pitchFamily="34" charset="0"/>
              </a:rPr>
              <a:t>8,7%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58" name="Прямоугольник 257"/>
          <p:cNvSpPr/>
          <p:nvPr/>
        </p:nvSpPr>
        <p:spPr>
          <a:xfrm>
            <a:off x="2709152" y="2225311"/>
            <a:ext cx="47481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Arial" panose="020B0604020202020204" pitchFamily="34" charset="0"/>
              </a:rPr>
              <a:t>8,4%</a:t>
            </a:r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451012" y="3365189"/>
            <a:ext cx="430773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% </a:t>
            </a:r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оотношение бюджетных изъятий к собственным доходам регионов-доноров </a:t>
            </a:r>
            <a:r>
              <a:rPr lang="ru-RU" sz="1000" dirty="0" smtClean="0">
                <a:latin typeface="Arial" panose="020B0604020202020204" pitchFamily="34" charset="0"/>
              </a:rPr>
              <a:t>(</a:t>
            </a:r>
            <a:r>
              <a:rPr lang="ru-RU" sz="1000" dirty="0" err="1" smtClean="0">
                <a:latin typeface="Arial" panose="020B0604020202020204" pitchFamily="34" charset="0"/>
              </a:rPr>
              <a:t>Атырауская</a:t>
            </a:r>
            <a:r>
              <a:rPr lang="ru-RU" sz="1000" dirty="0" smtClean="0">
                <a:latin typeface="Arial" panose="020B0604020202020204" pitchFamily="34" charset="0"/>
              </a:rPr>
              <a:t> </a:t>
            </a:r>
            <a:r>
              <a:rPr lang="ru-RU" sz="1000" dirty="0" err="1" smtClean="0">
                <a:latin typeface="Arial" panose="020B0604020202020204" pitchFamily="34" charset="0"/>
              </a:rPr>
              <a:t>обл</a:t>
            </a:r>
            <a:r>
              <a:rPr lang="ru-RU" sz="1000" dirty="0" smtClean="0">
                <a:latin typeface="Arial" panose="020B0604020202020204" pitchFamily="34" charset="0"/>
              </a:rPr>
              <a:t>, г. </a:t>
            </a:r>
            <a:r>
              <a:rPr lang="ru-RU" sz="1000" dirty="0" err="1" smtClean="0">
                <a:latin typeface="Arial" panose="020B0604020202020204" pitchFamily="34" charset="0"/>
              </a:rPr>
              <a:t>Нур</a:t>
            </a:r>
            <a:r>
              <a:rPr lang="ru-RU" sz="1000" dirty="0" smtClean="0">
                <a:latin typeface="Arial" panose="020B0604020202020204" pitchFamily="34" charset="0"/>
              </a:rPr>
              <a:t>-Султан, г. Алматы)</a:t>
            </a:r>
            <a:endParaRPr lang="ru-RU" sz="10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2125" y="4159710"/>
            <a:ext cx="4803820" cy="906551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307510" y="4958423"/>
            <a:ext cx="60012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/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2 год</a:t>
            </a:r>
            <a:endParaRPr lang="ru-RU" sz="800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83077" y="4961292"/>
            <a:ext cx="89764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/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3 год</a:t>
            </a:r>
            <a:endParaRPr lang="ru-RU" sz="800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579188" y="4964409"/>
            <a:ext cx="59270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/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4 год</a:t>
            </a:r>
            <a:endParaRPr lang="ru-RU" sz="800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734109" y="4958423"/>
            <a:ext cx="59503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36"/>
            <a:r>
              <a:rPr lang="ru-RU" sz="800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2025 год</a:t>
            </a:r>
            <a:endParaRPr lang="ru-RU" sz="800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81394" y="4049587"/>
            <a:ext cx="6001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36"/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30,2 %</a:t>
            </a:r>
            <a:endParaRPr lang="ru-RU" sz="1000" b="1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1420871" y="4606796"/>
            <a:ext cx="6001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36"/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0,8 %</a:t>
            </a:r>
            <a:endParaRPr lang="ru-RU" sz="1000" b="1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557130" y="4668385"/>
            <a:ext cx="600126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36"/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1</a:t>
            </a:r>
            <a:r>
              <a:rPr lang="ru-RU" sz="1000" b="1" dirty="0" smtClean="0">
                <a:solidFill>
                  <a:prstClr val="black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,1 %</a:t>
            </a:r>
            <a:endParaRPr lang="ru-RU" sz="1000" b="1" i="1" dirty="0">
              <a:solidFill>
                <a:prstClr val="black"/>
              </a:solidFill>
              <a:latin typeface="Arial" panose="020B0604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648402" y="4619869"/>
            <a:ext cx="8619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36"/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0,7 %</a:t>
            </a:r>
            <a:endParaRPr lang="ru-RU" sz="1600" b="1" i="1" dirty="0">
              <a:solidFill>
                <a:srgbClr val="00B050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672" y="3727495"/>
            <a:ext cx="2993026" cy="1295282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5578233" y="3744482"/>
            <a:ext cx="5453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b="1" dirty="0" smtClean="0">
                <a:latin typeface="Arial" panose="020B0604020202020204" pitchFamily="34" charset="0"/>
              </a:rPr>
              <a:t>56,4%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184812" y="3905492"/>
            <a:ext cx="5453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53,1%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21399" y="3989480"/>
            <a:ext cx="54534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53,0%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345085" y="4010264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52,7%</a:t>
            </a:r>
            <a:endParaRPr lang="ru-RU" sz="1600" b="1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580760" y="3367316"/>
            <a:ext cx="438822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Доля трансфертов из РБ в общем объеме поступлений МБ сократится с 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56,4</a:t>
            </a:r>
            <a:r>
              <a:rPr lang="ru-RU" sz="10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 %</a:t>
            </a:r>
            <a:r>
              <a:rPr lang="ru-RU" sz="10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в 2022 году до 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52,7</a:t>
            </a:r>
            <a:r>
              <a:rPr lang="ru-RU" sz="10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 %</a:t>
            </a:r>
            <a:r>
              <a:rPr lang="ru-RU" sz="1000" dirty="0" smtClean="0">
                <a:latin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в 2025 году</a:t>
            </a:r>
            <a:endParaRPr lang="ru-RU" sz="1000" b="1" dirty="0">
              <a:solidFill>
                <a:schemeClr val="accent5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5440995" y="4983513"/>
            <a:ext cx="2664000" cy="644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5530087" y="4959368"/>
            <a:ext cx="6158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smtClean="0">
                <a:latin typeface="Arial" panose="020B0604020202020204" pitchFamily="34" charset="0"/>
              </a:rPr>
              <a:t>2022 год</a:t>
            </a:r>
            <a:endParaRPr lang="ru-RU" sz="800" dirty="0">
              <a:latin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152857" y="4959368"/>
            <a:ext cx="6158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smtClean="0">
                <a:latin typeface="Arial" panose="020B0604020202020204" pitchFamily="34" charset="0"/>
              </a:rPr>
              <a:t>2023 год</a:t>
            </a:r>
            <a:endParaRPr lang="ru-RU" sz="800" dirty="0">
              <a:latin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780551" y="4966725"/>
            <a:ext cx="6158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smtClean="0">
                <a:latin typeface="Arial" panose="020B0604020202020204" pitchFamily="34" charset="0"/>
              </a:rPr>
              <a:t>2024 год</a:t>
            </a:r>
            <a:endParaRPr lang="ru-RU" sz="800" dirty="0">
              <a:latin typeface="Arial" panose="020B0604020202020204" pitchFamily="34" charset="0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7415142" y="4966725"/>
            <a:ext cx="6158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smtClean="0">
                <a:latin typeface="Arial" panose="020B0604020202020204" pitchFamily="34" charset="0"/>
              </a:rPr>
              <a:t>2025 год</a:t>
            </a:r>
            <a:endParaRPr lang="ru-RU" sz="800" dirty="0">
              <a:latin typeface="Arial" panose="020B0604020202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307510" y="3709822"/>
            <a:ext cx="464953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latin typeface="Arial" panose="020B0604020202020204" pitchFamily="34" charset="0"/>
              </a:rPr>
              <a:t>средний</a:t>
            </a:r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% </a:t>
            </a:r>
            <a:r>
              <a:rPr lang="ru-RU" sz="1000" dirty="0" smtClean="0">
                <a:latin typeface="Arial" panose="020B0604020202020204" pitchFamily="34" charset="0"/>
              </a:rPr>
              <a:t>при ТОХ: </a:t>
            </a:r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на 2020-2022 год – </a:t>
            </a:r>
            <a:r>
              <a:rPr lang="ru-RU" sz="10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30,5%</a:t>
            </a:r>
            <a:r>
              <a:rPr lang="ru-RU" sz="10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 </a:t>
            </a:r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на 2023-2025 </a:t>
            </a:r>
            <a:r>
              <a:rPr lang="ru-RU" sz="1000" b="1" dirty="0">
                <a:solidFill>
                  <a:schemeClr val="accent5"/>
                </a:solidFill>
                <a:latin typeface="Arial" panose="020B0604020202020204" pitchFamily="34" charset="0"/>
              </a:rPr>
              <a:t>год – </a:t>
            </a:r>
            <a:r>
              <a:rPr lang="ru-RU" sz="10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20,9%</a:t>
            </a:r>
            <a:r>
              <a:rPr lang="ru-RU" sz="10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  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3669416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Рисунок 5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8214" y="1268293"/>
            <a:ext cx="7081885" cy="2779318"/>
          </a:xfrm>
          <a:prstGeom prst="rect">
            <a:avLst/>
          </a:prstGeom>
        </p:spPr>
      </p:pic>
      <p:sp>
        <p:nvSpPr>
          <p:cNvPr id="92" name="Content Placeholder 1">
            <a:extLst>
              <a:ext uri="{FF2B5EF4-FFF2-40B4-BE49-F238E27FC236}">
                <a16:creationId xmlns:a16="http://schemas.microsoft.com/office/drawing/2014/main" id="{88B6DC51-189F-40AB-98D3-0693A1237245}"/>
              </a:ext>
            </a:extLst>
          </p:cNvPr>
          <p:cNvSpPr txBox="1">
            <a:spLocks/>
          </p:cNvSpPr>
          <p:nvPr/>
        </p:nvSpPr>
        <p:spPr>
          <a:xfrm>
            <a:off x="495074" y="247613"/>
            <a:ext cx="8729095" cy="3164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08491" rtl="0" eaLnBrk="1" latinLnBrk="0" hangingPunct="1">
              <a:spcBef>
                <a:spcPts val="0"/>
              </a:spcBef>
              <a:spcAft>
                <a:spcPts val="272"/>
              </a:spcAft>
              <a:buClr>
                <a:schemeClr val="tx2"/>
              </a:buClr>
              <a:buSzPct val="70000"/>
              <a:buFontTx/>
              <a:buNone/>
              <a:defRPr sz="1633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127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2pPr>
            <a:lvl3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Tx/>
              <a:buNone/>
              <a:defRPr sz="998" b="1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3pPr>
            <a:lvl4pPr marL="163296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4pPr>
            <a:lvl5pPr marL="326592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Clr>
                <a:schemeClr val="tx2"/>
              </a:buClr>
              <a:buSzPct val="70000"/>
              <a:buFont typeface="Arial" panose="020B0604020202020204" pitchFamily="34" charset="0"/>
              <a:buChar char="►"/>
              <a:defRPr sz="907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5pPr>
            <a:lvl6pPr marL="0" indent="-163296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 typeface="+mj-lt"/>
              <a:buAutoNum type="arabicPeriod"/>
              <a:defRPr sz="907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6pPr>
            <a:lvl7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7pPr>
            <a:lvl8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07" i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8pPr>
            <a:lvl9pPr marL="0" indent="0" algn="l" defTabSz="708491" rtl="0" eaLnBrk="1" latinLnBrk="0" hangingPunct="1">
              <a:spcBef>
                <a:spcPts val="0"/>
              </a:spcBef>
              <a:spcAft>
                <a:spcPts val="544"/>
              </a:spcAft>
              <a:buFontTx/>
              <a:buNone/>
              <a:defRPr sz="998" b="1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ru-RU" sz="2000" b="1" dirty="0">
                <a:solidFill>
                  <a:schemeClr val="accent5"/>
                </a:solidFill>
                <a:latin typeface="Arial" panose="020B0604020202020204" pitchFamily="34" charset="0"/>
              </a:rPr>
              <a:t>Учет региональных особенностей</a:t>
            </a:r>
            <a:endParaRPr lang="en-US" sz="2000" b="1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80904" y="744717"/>
            <a:ext cx="8175415" cy="338554"/>
          </a:xfrm>
          <a:prstGeom prst="rect">
            <a:avLst/>
          </a:prstGeom>
          <a:pattFill prst="dkUpDiag">
            <a:fgClr>
              <a:srgbClr val="D5F2FC"/>
            </a:fgClr>
            <a:bgClr>
              <a:sysClr val="window" lastClr="FFFFFF"/>
            </a:bgClr>
          </a:pattFill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ctr" defTabSz="914436">
              <a:buClr>
                <a:srgbClr val="00B050"/>
              </a:buClr>
              <a:defRPr/>
            </a:pPr>
            <a:r>
              <a:rPr lang="ru-RU" sz="16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Влияние уровня инфляции и отраслевых </a:t>
            </a:r>
            <a:r>
              <a:rPr lang="ru-RU" sz="1600" b="1" kern="0" dirty="0" smtClean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коэффициентов,</a:t>
            </a:r>
            <a:r>
              <a:rPr lang="ru-RU" sz="16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600" b="1" kern="0" dirty="0" smtClean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показателей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480904" y="3148555"/>
            <a:ext cx="8186169" cy="338554"/>
          </a:xfrm>
          <a:prstGeom prst="rect">
            <a:avLst/>
          </a:prstGeom>
          <a:pattFill prst="dkUpDiag">
            <a:fgClr>
              <a:srgbClr val="D5F2FC"/>
            </a:fgClr>
            <a:bgClr>
              <a:sysClr val="window" lastClr="FFFFFF"/>
            </a:bgClr>
          </a:pattFill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ctr" defTabSz="914436">
              <a:buClr>
                <a:srgbClr val="00B050"/>
              </a:buClr>
              <a:defRPr/>
            </a:pPr>
            <a:r>
              <a:rPr lang="ru-RU" sz="16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Рекомендации </a:t>
            </a:r>
            <a:r>
              <a:rPr lang="ru-RU" sz="1600" b="1" kern="0" dirty="0" smtClean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депутатов Сената Парламента</a:t>
            </a:r>
            <a:r>
              <a:rPr lang="ru-RU" sz="16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 и </a:t>
            </a:r>
            <a:r>
              <a:rPr lang="ru-RU" sz="1600" b="1" kern="0" dirty="0" smtClean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Счетного комитета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495073" y="3107272"/>
            <a:ext cx="8172000" cy="0"/>
          </a:xfrm>
          <a:prstGeom prst="line">
            <a:avLst/>
          </a:prstGeom>
          <a:ln>
            <a:solidFill>
              <a:schemeClr val="accent5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Рисунок 27"/>
          <p:cNvPicPr>
            <a:picLocks noChangeAspect="1"/>
          </p:cNvPicPr>
          <p:nvPr/>
        </p:nvPicPr>
        <p:blipFill>
          <a:blip r:embed="rId3" cstate="hq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>
                        <a14:foregroundMark x1="82222" y1="79239" x2="82222" y2="7923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78312">
            <a:off x="546929" y="4318938"/>
            <a:ext cx="640257" cy="609285"/>
          </a:xfrm>
          <a:prstGeom prst="rect">
            <a:avLst/>
          </a:prstGeom>
          <a:noFill/>
        </p:spPr>
      </p:pic>
      <p:pic>
        <p:nvPicPr>
          <p:cNvPr id="22" name="Picture 5" descr="C:\Users\Yeshmatov_A\Desktop\1\Strategy_icon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963" y="3576461"/>
            <a:ext cx="630472" cy="633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1066874" y="3541111"/>
            <a:ext cx="3469629" cy="7232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algn="just" defTabSz="687391" fontAlgn="b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ru-RU" sz="1200" dirty="0" smtClean="0">
                <a:latin typeface="Arial" panose="020B0604020202020204" pitchFamily="34" charset="0"/>
              </a:rPr>
              <a:t>Для расчета использована 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фактически</a:t>
            </a:r>
          </a:p>
          <a:p>
            <a:pPr marL="179388" algn="just" defTabSz="687391" fontAlgn="b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ложившаяся база местных бюджетов</a:t>
            </a:r>
          </a:p>
          <a:p>
            <a:pPr marL="179388" algn="just" defTabSz="687391" fontAlgn="b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по </a:t>
            </a:r>
            <a:r>
              <a:rPr lang="ru-RU" sz="1200" smtClean="0">
                <a:latin typeface="Arial" panose="020B0604020202020204" pitchFamily="34" charset="0"/>
              </a:rPr>
              <a:t>текущим расходам</a:t>
            </a:r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65520" y="4344516"/>
            <a:ext cx="3630376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algn="just" defTabSz="687391" fontAlgn="b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ru-RU" sz="1200" dirty="0" smtClean="0">
                <a:latin typeface="Arial" panose="020B0604020202020204" pitchFamily="34" charset="0"/>
              </a:rPr>
              <a:t>Актуализированы и введены новые</a:t>
            </a:r>
          </a:p>
          <a:p>
            <a:pPr marL="179388" algn="just" defTabSz="687391" fontAlgn="b">
              <a:spcBef>
                <a:spcPts val="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ru-RU" sz="1200" dirty="0" smtClean="0">
                <a:latin typeface="Arial" panose="020B0604020202020204" pitchFamily="34" charset="0"/>
              </a:rPr>
              <a:t>отраслевые 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показатели</a:t>
            </a:r>
            <a:r>
              <a:rPr lang="ru-RU" sz="1200" dirty="0" smtClean="0">
                <a:latin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</a:rPr>
              <a:t>и 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коэффициенты</a:t>
            </a:r>
            <a:endParaRPr lang="ru-RU" sz="12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53259" y="4721064"/>
            <a:ext cx="278399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00B050"/>
                </a:solidFill>
                <a:latin typeface="Arial" pitchFamily="34" charset="0"/>
              </a:rPr>
              <a:t>7</a:t>
            </a:r>
            <a:r>
              <a:rPr lang="ru-RU" sz="1200" dirty="0" smtClean="0">
                <a:latin typeface="Arial" pitchFamily="34" charset="0"/>
              </a:rPr>
              <a:t> </a:t>
            </a:r>
            <a:r>
              <a:rPr lang="ru-RU" sz="1200" b="1" dirty="0">
                <a:solidFill>
                  <a:schemeClr val="accent5"/>
                </a:solidFill>
                <a:latin typeface="Arial" panose="020B0604020202020204" pitchFamily="34" charset="0"/>
              </a:rPr>
              <a:t>коэффициентов </a:t>
            </a:r>
            <a:r>
              <a:rPr lang="ru-RU" sz="1200" dirty="0">
                <a:latin typeface="Arial" panose="020B0604020202020204" pitchFamily="34" charset="0"/>
              </a:rPr>
              <a:t>и</a:t>
            </a:r>
            <a:r>
              <a:rPr lang="ru-RU" sz="1200" b="1" dirty="0">
                <a:solidFill>
                  <a:schemeClr val="accent5"/>
                </a:solidFill>
                <a:latin typeface="Arial" panose="020B0604020202020204" pitchFamily="34" charset="0"/>
              </a:rPr>
              <a:t> 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показателей</a:t>
            </a:r>
            <a:endParaRPr lang="ru-RU" sz="2400" b="1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3743383" y="4751701"/>
            <a:ext cx="1068602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+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 </a:t>
            </a:r>
            <a:r>
              <a:rPr lang="ru-RU" sz="24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5</a:t>
            </a:r>
            <a:r>
              <a:rPr lang="ru-RU" sz="12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 новые</a:t>
            </a:r>
            <a:endParaRPr lang="ru-RU" sz="1200" b="1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908507" y="3410909"/>
            <a:ext cx="3029906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Р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езерв </a:t>
            </a:r>
            <a:r>
              <a:rPr lang="ru-RU" sz="1200" b="1" dirty="0">
                <a:solidFill>
                  <a:schemeClr val="accent5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МИО в размере </a:t>
            </a:r>
            <a:r>
              <a:rPr lang="ru-RU" sz="2400" b="1" dirty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2 </a:t>
            </a:r>
            <a:r>
              <a:rPr lang="ru-RU" sz="2400" b="1" dirty="0" smtClean="0">
                <a:solidFill>
                  <a:srgbClr val="00B050"/>
                </a:solidFill>
                <a:latin typeface="Arial" panose="020B0604020202020204" pitchFamily="34" charset="0"/>
                <a:ea typeface="Tahoma" panose="020B0604030504040204" pitchFamily="34" charset="0"/>
              </a:rPr>
              <a:t>%</a:t>
            </a:r>
            <a:endParaRPr lang="ru-RU" sz="1200" b="1" dirty="0">
              <a:solidFill>
                <a:schemeClr val="accent5"/>
              </a:solidFill>
              <a:latin typeface="Arial" panose="020B0604020202020204" pitchFamily="34" charset="0"/>
              <a:ea typeface="Tahoma" panose="020B0604030504040204" pitchFamily="34" charset="0"/>
            </a:endParaRPr>
          </a:p>
          <a:p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</a:rPr>
              <a:t>от </a:t>
            </a:r>
            <a:r>
              <a:rPr lang="ru-RU" sz="1200" dirty="0">
                <a:latin typeface="Arial" panose="020B0604020202020204" pitchFamily="34" charset="0"/>
                <a:ea typeface="Tahoma" panose="020B0604030504040204" pitchFamily="34" charset="0"/>
              </a:rPr>
              <a:t>доходов </a:t>
            </a:r>
            <a:r>
              <a:rPr lang="ru-RU" sz="1200" dirty="0" smtClean="0">
                <a:latin typeface="Arial" panose="020B0604020202020204" pitchFamily="34" charset="0"/>
                <a:ea typeface="Tahoma" panose="020B0604030504040204" pitchFamily="34" charset="0"/>
              </a:rPr>
              <a:t>МБ </a:t>
            </a:r>
            <a:r>
              <a:rPr lang="ru-RU" sz="1000" dirty="0" smtClean="0">
                <a:latin typeface="Arial" panose="020B0604020202020204" pitchFamily="34" charset="0"/>
                <a:ea typeface="Tahoma" panose="020B0604030504040204" pitchFamily="34" charset="0"/>
              </a:rPr>
              <a:t>(2023 год - 105,4 млрд. тенге</a:t>
            </a:r>
            <a:r>
              <a:rPr lang="ru-RU" sz="1000" dirty="0">
                <a:latin typeface="Arial" panose="020B0604020202020204" pitchFamily="34" charset="0"/>
                <a:ea typeface="Tahoma" panose="020B0604030504040204" pitchFamily="34" charset="0"/>
              </a:rPr>
              <a:t>,  113,7 млрд. </a:t>
            </a:r>
            <a:r>
              <a:rPr lang="ru-RU" sz="1000" dirty="0" smtClean="0">
                <a:latin typeface="Arial" panose="020B0604020202020204" pitchFamily="34" charset="0"/>
                <a:ea typeface="Tahoma" panose="020B0604030504040204" pitchFamily="34" charset="0"/>
              </a:rPr>
              <a:t>тенге, </a:t>
            </a:r>
            <a:r>
              <a:rPr lang="ru-RU" sz="1000" dirty="0">
                <a:latin typeface="Arial" panose="020B0604020202020204" pitchFamily="34" charset="0"/>
                <a:ea typeface="Tahoma" panose="020B0604030504040204" pitchFamily="34" charset="0"/>
              </a:rPr>
              <a:t>121,8 млрд. тенге)</a:t>
            </a:r>
            <a:endParaRPr lang="ru-RU" sz="1000" dirty="0"/>
          </a:p>
        </p:txBody>
      </p:sp>
      <p:pic>
        <p:nvPicPr>
          <p:cNvPr id="41" name="Рисунок 40">
            <a:extLst/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2572" y="4264386"/>
            <a:ext cx="664608" cy="66460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5923269" y="4199801"/>
            <a:ext cx="3377005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</a:rPr>
              <a:t>Обслуживание </a:t>
            </a:r>
            <a:r>
              <a:rPr lang="ru-RU" sz="1200" b="1" dirty="0">
                <a:solidFill>
                  <a:schemeClr val="accent5"/>
                </a:solidFill>
                <a:latin typeface="Arial" panose="020B0604020202020204" pitchFamily="34" charset="0"/>
              </a:rPr>
              <a:t>основного долга по облигационным займам</a:t>
            </a:r>
            <a:r>
              <a:rPr lang="ru-RU" sz="1200" dirty="0">
                <a:latin typeface="Arial" panose="020B0604020202020204" pitchFamily="34" charset="0"/>
              </a:rPr>
              <a:t> в рамках </a:t>
            </a:r>
            <a:r>
              <a:rPr lang="ru-RU" sz="1200" dirty="0" smtClean="0">
                <a:latin typeface="Arial" panose="020B0604020202020204" pitchFamily="34" charset="0"/>
              </a:rPr>
              <a:t>ДКЗ</a:t>
            </a:r>
          </a:p>
          <a:p>
            <a:r>
              <a:rPr lang="ru-RU" sz="1000" dirty="0" smtClean="0">
                <a:latin typeface="Arial" panose="020B0604020202020204" pitchFamily="34" charset="0"/>
              </a:rPr>
              <a:t>(по 46,2 </a:t>
            </a:r>
            <a:r>
              <a:rPr lang="ru-RU" sz="1000" dirty="0">
                <a:latin typeface="Arial" panose="020B0604020202020204" pitchFamily="34" charset="0"/>
                <a:ea typeface="Tahoma" panose="020B0604030504040204" pitchFamily="34" charset="0"/>
              </a:rPr>
              <a:t>млрд. </a:t>
            </a:r>
            <a:r>
              <a:rPr lang="ru-RU" sz="1000" dirty="0" smtClean="0">
                <a:latin typeface="Arial" panose="020B0604020202020204" pitchFamily="34" charset="0"/>
                <a:ea typeface="Tahoma" panose="020B0604030504040204" pitchFamily="34" charset="0"/>
              </a:rPr>
              <a:t>тенге ежегодно)</a:t>
            </a:r>
            <a:endParaRPr lang="ru-RU" sz="1000" dirty="0" smtClean="0">
              <a:latin typeface="Arial" panose="020B060402020202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923270" y="4766270"/>
            <a:ext cx="301514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</a:rPr>
              <a:t>Обязательства </a:t>
            </a:r>
            <a:r>
              <a:rPr lang="ru-RU" sz="1200" b="1" dirty="0">
                <a:solidFill>
                  <a:schemeClr val="accent5"/>
                </a:solidFill>
                <a:latin typeface="Arial" panose="020B0604020202020204" pitchFamily="34" charset="0"/>
              </a:rPr>
              <a:t>по 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ГЧП </a:t>
            </a:r>
            <a:r>
              <a:rPr lang="ru-RU" sz="1000" dirty="0">
                <a:latin typeface="Arial" panose="020B0604020202020204" pitchFamily="34" charset="0"/>
                <a:ea typeface="Tahoma" panose="020B0604030504040204" pitchFamily="34" charset="0"/>
              </a:rPr>
              <a:t>(2023 год - </a:t>
            </a:r>
            <a:r>
              <a:rPr lang="ru-RU" sz="1000" dirty="0" smtClean="0">
                <a:latin typeface="Arial" panose="020B0604020202020204" pitchFamily="34" charset="0"/>
              </a:rPr>
              <a:t>121,4</a:t>
            </a:r>
            <a:endParaRPr lang="ru-RU" sz="1000" dirty="0">
              <a:latin typeface="Arial" panose="020B0604020202020204" pitchFamily="34" charset="0"/>
              <a:ea typeface="Tahoma" panose="020B0604030504040204" pitchFamily="34" charset="0"/>
            </a:endParaRPr>
          </a:p>
          <a:p>
            <a:r>
              <a:rPr lang="ru-RU" sz="1000" dirty="0" smtClean="0">
                <a:latin typeface="Arial" panose="020B0604020202020204" pitchFamily="34" charset="0"/>
                <a:ea typeface="Tahoma" panose="020B0604030504040204" pitchFamily="34" charset="0"/>
              </a:rPr>
              <a:t>млрд</a:t>
            </a:r>
            <a:r>
              <a:rPr lang="ru-RU" sz="1000" dirty="0">
                <a:latin typeface="Arial" panose="020B0604020202020204" pitchFamily="34" charset="0"/>
                <a:ea typeface="Tahoma" panose="020B0604030504040204" pitchFamily="34" charset="0"/>
              </a:rPr>
              <a:t>. тенге, </a:t>
            </a:r>
            <a:r>
              <a:rPr lang="ru-RU" sz="1000" dirty="0">
                <a:latin typeface="Arial" panose="020B0604020202020204" pitchFamily="34" charset="0"/>
              </a:rPr>
              <a:t>71,1</a:t>
            </a:r>
            <a:r>
              <a:rPr lang="ru-RU" sz="1000" dirty="0" smtClean="0"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Tahoma" panose="020B0604030504040204" pitchFamily="34" charset="0"/>
              </a:rPr>
              <a:t>млрд. тенге, </a:t>
            </a:r>
            <a:r>
              <a:rPr lang="ru-RU" sz="1000" dirty="0" smtClean="0">
                <a:latin typeface="Arial" panose="020B0604020202020204" pitchFamily="34" charset="0"/>
              </a:rPr>
              <a:t>51,6</a:t>
            </a:r>
            <a:r>
              <a:rPr lang="ru-RU" sz="1000" dirty="0" smtClean="0">
                <a:latin typeface="Arial" panose="020B0604020202020204" pitchFamily="34" charset="0"/>
                <a:ea typeface="Tahoma" panose="020B0604030504040204" pitchFamily="34" charset="0"/>
              </a:rPr>
              <a:t> </a:t>
            </a:r>
            <a:r>
              <a:rPr lang="ru-RU" sz="1000" dirty="0">
                <a:latin typeface="Arial" panose="020B0604020202020204" pitchFamily="34" charset="0"/>
                <a:ea typeface="Tahoma" panose="020B0604030504040204" pitchFamily="34" charset="0"/>
              </a:rPr>
              <a:t>млрд. тенге</a:t>
            </a:r>
            <a:r>
              <a:rPr lang="ru-RU" sz="1000" dirty="0" smtClean="0">
                <a:latin typeface="Arial" panose="020B0604020202020204" pitchFamily="34" charset="0"/>
                <a:ea typeface="Tahoma" panose="020B0604030504040204" pitchFamily="34" charset="0"/>
              </a:rPr>
              <a:t>)</a:t>
            </a:r>
            <a:endParaRPr lang="ru-RU" sz="1000" dirty="0"/>
          </a:p>
        </p:txBody>
      </p:sp>
      <p:sp>
        <p:nvSpPr>
          <p:cNvPr id="44" name="TextBox 43"/>
          <p:cNvSpPr txBox="1"/>
          <p:nvPr/>
        </p:nvSpPr>
        <p:spPr>
          <a:xfrm>
            <a:off x="701454" y="2179211"/>
            <a:ext cx="21815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Текущие затраты МИО</a:t>
            </a:r>
            <a:r>
              <a:rPr lang="en-US" sz="1000" b="1" dirty="0" smtClean="0">
                <a:latin typeface="Arial" panose="020B0604020202020204" pitchFamily="34" charset="0"/>
              </a:rPr>
              <a:t> </a:t>
            </a:r>
            <a:r>
              <a:rPr lang="ru-RU" sz="1000" b="1" dirty="0" smtClean="0">
                <a:latin typeface="Arial" panose="020B0604020202020204" pitchFamily="34" charset="0"/>
              </a:rPr>
              <a:t>на 1 мая</a:t>
            </a:r>
          </a:p>
          <a:p>
            <a:pPr algn="ctr"/>
            <a:r>
              <a:rPr lang="ru-RU" sz="1000" dirty="0" smtClean="0">
                <a:latin typeface="Arial" panose="020B0604020202020204" pitchFamily="34" charset="0"/>
              </a:rPr>
              <a:t>(по новым регионам</a:t>
            </a:r>
            <a:r>
              <a:rPr lang="en-US" sz="1000" dirty="0" smtClean="0">
                <a:latin typeface="Arial" panose="020B0604020202020204" pitchFamily="34" charset="0"/>
              </a:rPr>
              <a:t> </a:t>
            </a:r>
            <a:r>
              <a:rPr lang="ru-RU" sz="1000" dirty="0" smtClean="0">
                <a:latin typeface="Arial" panose="020B0604020202020204" pitchFamily="34" charset="0"/>
              </a:rPr>
              <a:t>на 1 июля)</a:t>
            </a:r>
            <a:endParaRPr lang="ru-RU" sz="1000" dirty="0">
              <a:latin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3517077" y="1805765"/>
            <a:ext cx="9541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</a:rPr>
              <a:t>5 </a:t>
            </a:r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730,6</a:t>
            </a:r>
            <a:endParaRPr lang="en-US" b="1" dirty="0" smtClean="0">
              <a:solidFill>
                <a:srgbClr val="00B050"/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0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млрд</a:t>
            </a:r>
            <a:r>
              <a:rPr lang="ru-RU" sz="1000" b="1" dirty="0">
                <a:solidFill>
                  <a:srgbClr val="00B050"/>
                </a:solidFill>
                <a:latin typeface="Arial" panose="020B0604020202020204" pitchFamily="34" charset="0"/>
              </a:rPr>
              <a:t>. тенге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5249685" y="1563693"/>
            <a:ext cx="9541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</a:rPr>
              <a:t>6 </a:t>
            </a:r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003,1</a:t>
            </a:r>
            <a:endParaRPr lang="en-US" b="1" dirty="0" smtClean="0">
              <a:solidFill>
                <a:srgbClr val="00B050"/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0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млрд</a:t>
            </a:r>
            <a:r>
              <a:rPr lang="ru-RU" sz="1000" b="1" dirty="0">
                <a:solidFill>
                  <a:srgbClr val="00B050"/>
                </a:solidFill>
                <a:latin typeface="Arial" panose="020B0604020202020204" pitchFamily="34" charset="0"/>
              </a:rPr>
              <a:t>. тенге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6955931" y="1040327"/>
            <a:ext cx="95410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rgbClr val="00B050"/>
                </a:solidFill>
                <a:latin typeface="Arial" panose="020B0604020202020204" pitchFamily="34" charset="0"/>
              </a:rPr>
              <a:t>6 </a:t>
            </a:r>
            <a:r>
              <a:rPr lang="ru-RU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265,1</a:t>
            </a:r>
            <a:endParaRPr lang="en-US" b="1" dirty="0" smtClean="0">
              <a:solidFill>
                <a:srgbClr val="00B050"/>
              </a:solidFill>
              <a:latin typeface="Arial" panose="020B0604020202020204" pitchFamily="34" charset="0"/>
            </a:endParaRPr>
          </a:p>
          <a:p>
            <a:pPr algn="ctr"/>
            <a:r>
              <a:rPr lang="ru-RU" sz="10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млрд</a:t>
            </a:r>
            <a:r>
              <a:rPr lang="ru-RU" sz="1000" b="1" dirty="0">
                <a:solidFill>
                  <a:srgbClr val="00B050"/>
                </a:solidFill>
                <a:latin typeface="Arial" panose="020B0604020202020204" pitchFamily="34" charset="0"/>
              </a:rPr>
              <a:t>. тенге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66874" y="2486369"/>
            <a:ext cx="14507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00B050"/>
                </a:solidFill>
                <a:latin typeface="Arial" panose="020B0604020202020204" pitchFamily="34" charset="0"/>
              </a:rPr>
              <a:t>4 873,8</a:t>
            </a:r>
          </a:p>
          <a:p>
            <a:pPr algn="ctr"/>
            <a:r>
              <a:rPr lang="ru-RU" sz="1200" b="1" dirty="0">
                <a:solidFill>
                  <a:srgbClr val="00B050"/>
                </a:solidFill>
                <a:latin typeface="Arial" panose="020B0604020202020204" pitchFamily="34" charset="0"/>
              </a:rPr>
              <a:t>млрд. тенге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3636500" y="2861051"/>
            <a:ext cx="7152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2023 год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369108" y="2861051"/>
            <a:ext cx="7152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202</a:t>
            </a:r>
            <a:r>
              <a:rPr lang="en-US" sz="1000" b="1" dirty="0" smtClean="0">
                <a:latin typeface="Arial" panose="020B0604020202020204" pitchFamily="34" charset="0"/>
              </a:rPr>
              <a:t>4</a:t>
            </a:r>
            <a:r>
              <a:rPr lang="ru-RU" sz="1000" b="1" dirty="0" smtClean="0">
                <a:latin typeface="Arial" panose="020B0604020202020204" pitchFamily="34" charset="0"/>
              </a:rPr>
              <a:t> год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7075354" y="2861051"/>
            <a:ext cx="7152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202</a:t>
            </a:r>
            <a:r>
              <a:rPr lang="en-US" sz="1000" b="1" dirty="0">
                <a:latin typeface="Arial" panose="020B0604020202020204" pitchFamily="34" charset="0"/>
              </a:rPr>
              <a:t>5</a:t>
            </a:r>
            <a:r>
              <a:rPr lang="ru-RU" sz="1000" b="1" dirty="0" smtClean="0">
                <a:latin typeface="Arial" panose="020B0604020202020204" pitchFamily="34" charset="0"/>
              </a:rPr>
              <a:t> год</a:t>
            </a:r>
            <a:endParaRPr lang="ru-RU" sz="1000" b="1" dirty="0">
              <a:latin typeface="Arial" panose="020B0604020202020204" pitchFamily="34" charset="0"/>
            </a:endParaRPr>
          </a:p>
        </p:txBody>
      </p:sp>
      <p:sp>
        <p:nvSpPr>
          <p:cNvPr id="59" name="Овал 58"/>
          <p:cNvSpPr/>
          <p:nvPr/>
        </p:nvSpPr>
        <p:spPr>
          <a:xfrm>
            <a:off x="2290535" y="2955193"/>
            <a:ext cx="51591" cy="55748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Овал 63"/>
          <p:cNvSpPr/>
          <p:nvPr/>
        </p:nvSpPr>
        <p:spPr>
          <a:xfrm>
            <a:off x="3994130" y="2305878"/>
            <a:ext cx="51591" cy="55748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Овал 64"/>
          <p:cNvSpPr/>
          <p:nvPr/>
        </p:nvSpPr>
        <p:spPr>
          <a:xfrm>
            <a:off x="5700942" y="2103813"/>
            <a:ext cx="51591" cy="55748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Овал 65"/>
          <p:cNvSpPr/>
          <p:nvPr/>
        </p:nvSpPr>
        <p:spPr>
          <a:xfrm>
            <a:off x="7407188" y="1648590"/>
            <a:ext cx="51591" cy="55748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TextBox 66"/>
          <p:cNvSpPr txBox="1"/>
          <p:nvPr/>
        </p:nvSpPr>
        <p:spPr>
          <a:xfrm>
            <a:off x="1454572" y="1049317"/>
            <a:ext cx="56462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Прогноз текущих затрат МИО с учетом уровня инфляции и отраслевых</a:t>
            </a:r>
            <a:endParaRPr lang="ru-RU" sz="1200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pic>
        <p:nvPicPr>
          <p:cNvPr id="68" name="Рисунок 67"/>
          <p:cNvPicPr>
            <a:picLocks noChangeAspect="1"/>
          </p:cNvPicPr>
          <p:nvPr/>
        </p:nvPicPr>
        <p:blipFill>
          <a:blip r:embed="rId7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5820" y="3498207"/>
            <a:ext cx="708493" cy="644833"/>
          </a:xfrm>
          <a:prstGeom prst="rect">
            <a:avLst/>
          </a:prstGeom>
        </p:spPr>
      </p:pic>
      <p:sp>
        <p:nvSpPr>
          <p:cNvPr id="31" name="TextBox 30"/>
          <p:cNvSpPr txBox="1"/>
          <p:nvPr/>
        </p:nvSpPr>
        <p:spPr>
          <a:xfrm>
            <a:off x="3637063" y="1224025"/>
            <a:ext cx="34640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коэффициентов, показателей увеличен до</a:t>
            </a:r>
            <a:endParaRPr lang="ru-RU" sz="1200" dirty="0">
              <a:solidFill>
                <a:schemeClr val="accent5"/>
              </a:solidFill>
              <a:latin typeface="Arial" panose="020B0604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802379" y="2298584"/>
            <a:ext cx="785793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+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</a:rPr>
              <a:t>856,8</a:t>
            </a:r>
            <a:endParaRPr lang="en-US" sz="1400" b="1" dirty="0" smtClean="0">
              <a:latin typeface="Arial" panose="020B0604020202020204" pitchFamily="34" charset="0"/>
            </a:endParaRPr>
          </a:p>
          <a:p>
            <a:pPr algn="ctr"/>
            <a:r>
              <a:rPr lang="ru-RU" sz="800" b="1" dirty="0" smtClean="0">
                <a:latin typeface="Arial" panose="020B0604020202020204" pitchFamily="34" charset="0"/>
              </a:rPr>
              <a:t>млрд</a:t>
            </a:r>
            <a:r>
              <a:rPr lang="ru-RU" sz="800" b="1" dirty="0">
                <a:latin typeface="Arial" panose="020B0604020202020204" pitchFamily="34" charset="0"/>
              </a:rPr>
              <a:t>. тенге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505237" y="2079419"/>
            <a:ext cx="93487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+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</a:rPr>
              <a:t>1 129,3</a:t>
            </a:r>
            <a:endParaRPr lang="en-US" sz="1400" b="1" dirty="0" smtClean="0">
              <a:latin typeface="Arial" panose="020B0604020202020204" pitchFamily="34" charset="0"/>
            </a:endParaRPr>
          </a:p>
          <a:p>
            <a:pPr algn="ctr"/>
            <a:r>
              <a:rPr lang="ru-RU" sz="800" b="1" dirty="0" smtClean="0">
                <a:latin typeface="Arial" panose="020B0604020202020204" pitchFamily="34" charset="0"/>
              </a:rPr>
              <a:t>млрд</a:t>
            </a:r>
            <a:r>
              <a:rPr lang="ru-RU" sz="800" b="1" dirty="0">
                <a:latin typeface="Arial" panose="020B0604020202020204" pitchFamily="34" charset="0"/>
              </a:rPr>
              <a:t>. тенге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7215510" y="1630835"/>
            <a:ext cx="93487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rgbClr val="C00000"/>
                </a:solidFill>
                <a:latin typeface="Arial" panose="020B0604020202020204" pitchFamily="34" charset="0"/>
              </a:rPr>
              <a:t>+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 </a:t>
            </a:r>
            <a:r>
              <a:rPr lang="ru-RU" sz="1400" b="1" dirty="0" smtClean="0">
                <a:latin typeface="Arial" panose="020B0604020202020204" pitchFamily="34" charset="0"/>
              </a:rPr>
              <a:t>1 391,3</a:t>
            </a:r>
            <a:endParaRPr lang="en-US" sz="1400" b="1" dirty="0" smtClean="0">
              <a:latin typeface="Arial" panose="020B0604020202020204" pitchFamily="34" charset="0"/>
            </a:endParaRPr>
          </a:p>
          <a:p>
            <a:pPr algn="ctr"/>
            <a:r>
              <a:rPr lang="ru-RU" sz="800" b="1" dirty="0" smtClean="0">
                <a:latin typeface="Arial" panose="020B0604020202020204" pitchFamily="34" charset="0"/>
              </a:rPr>
              <a:t>млрд</a:t>
            </a:r>
            <a:r>
              <a:rPr lang="ru-RU" sz="800" b="1" dirty="0">
                <a:latin typeface="Arial" panose="020B0604020202020204" pitchFamily="34" charset="0"/>
              </a:rPr>
              <a:t>. тенге</a:t>
            </a:r>
          </a:p>
        </p:txBody>
      </p:sp>
    </p:spTree>
    <p:extLst>
      <p:ext uri="{BB962C8B-B14F-4D97-AF65-F5344CB8AC3E}">
        <p14:creationId xmlns:p14="http://schemas.microsoft.com/office/powerpoint/2010/main" val="359582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2345FB-3457-472F-A56F-E044CDF1808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07774" y="57955"/>
            <a:ext cx="8131168" cy="609955"/>
          </a:xfrm>
        </p:spPr>
        <p:txBody>
          <a:bodyPr anchor="ctr"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ерты </a:t>
            </a:r>
            <a:r>
              <a:rPr lang="ru-RU" sz="2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его </a:t>
            </a:r>
            <a:r>
              <a:rPr lang="ru-RU" sz="20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рактера на 2023-2025 годы</a:t>
            </a:r>
            <a:r>
              <a:rPr lang="ru-RU" sz="12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млрд. тенге</a:t>
            </a:r>
            <a:endParaRPr lang="ru-RU" sz="1200" b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41222" y="1990000"/>
            <a:ext cx="5146063" cy="2831012"/>
            <a:chOff x="5654846" y="796854"/>
            <a:chExt cx="5493763" cy="3252056"/>
          </a:xfrm>
          <a:solidFill>
            <a:schemeClr val="accent1">
              <a:lumMod val="60000"/>
              <a:lumOff val="40000"/>
            </a:schemeClr>
          </a:solidFill>
        </p:grpSpPr>
        <p:grpSp>
          <p:nvGrpSpPr>
            <p:cNvPr id="13" name="Группа 12"/>
            <p:cNvGrpSpPr/>
            <p:nvPr/>
          </p:nvGrpSpPr>
          <p:grpSpPr>
            <a:xfrm>
              <a:off x="5654846" y="796854"/>
              <a:ext cx="5493763" cy="3252056"/>
              <a:chOff x="3842440" y="1895004"/>
              <a:chExt cx="8563748" cy="5184576"/>
            </a:xfrm>
            <a:grpFill/>
          </p:grpSpPr>
          <p:sp>
            <p:nvSpPr>
              <p:cNvPr id="28" name="Freeform 2"/>
              <p:cNvSpPr>
                <a:spLocks noChangeArrowheads="1"/>
              </p:cNvSpPr>
              <p:nvPr/>
            </p:nvSpPr>
            <p:spPr bwMode="auto">
              <a:xfrm>
                <a:off x="3842440" y="3323566"/>
                <a:ext cx="1708816" cy="1364724"/>
              </a:xfrm>
              <a:custGeom>
                <a:avLst/>
                <a:gdLst>
                  <a:gd name="T0" fmla="*/ 9452 w 9581"/>
                  <a:gd name="T1" fmla="*/ 2361 h 6975"/>
                  <a:gd name="T2" fmla="*/ 9310 w 9581"/>
                  <a:gd name="T3" fmla="*/ 2631 h 6975"/>
                  <a:gd name="T4" fmla="*/ 9464 w 9581"/>
                  <a:gd name="T5" fmla="*/ 3126 h 6975"/>
                  <a:gd name="T6" fmla="*/ 9366 w 9581"/>
                  <a:gd name="T7" fmla="*/ 3692 h 6975"/>
                  <a:gd name="T8" fmla="*/ 9224 w 9581"/>
                  <a:gd name="T9" fmla="*/ 4018 h 6975"/>
                  <a:gd name="T10" fmla="*/ 8785 w 9581"/>
                  <a:gd name="T11" fmla="*/ 3974 h 6975"/>
                  <a:gd name="T12" fmla="*/ 8432 w 9581"/>
                  <a:gd name="T13" fmla="*/ 4131 h 6975"/>
                  <a:gd name="T14" fmla="*/ 8278 w 9581"/>
                  <a:gd name="T15" fmla="*/ 4682 h 6975"/>
                  <a:gd name="T16" fmla="*/ 7668 w 9581"/>
                  <a:gd name="T17" fmla="*/ 5177 h 6975"/>
                  <a:gd name="T18" fmla="*/ 7258 w 9581"/>
                  <a:gd name="T19" fmla="*/ 5503 h 6975"/>
                  <a:gd name="T20" fmla="*/ 6650 w 9581"/>
                  <a:gd name="T21" fmla="*/ 6025 h 6975"/>
                  <a:gd name="T22" fmla="*/ 6253 w 9581"/>
                  <a:gd name="T23" fmla="*/ 5942 h 6975"/>
                  <a:gd name="T24" fmla="*/ 4797 w 9581"/>
                  <a:gd name="T25" fmla="*/ 6195 h 6975"/>
                  <a:gd name="T26" fmla="*/ 4202 w 9581"/>
                  <a:gd name="T27" fmla="*/ 6663 h 6975"/>
                  <a:gd name="T28" fmla="*/ 3368 w 9581"/>
                  <a:gd name="T29" fmla="*/ 6974 h 6975"/>
                  <a:gd name="T30" fmla="*/ 1302 w 9581"/>
                  <a:gd name="T31" fmla="*/ 6562 h 6975"/>
                  <a:gd name="T32" fmla="*/ 708 w 9581"/>
                  <a:gd name="T33" fmla="*/ 6535 h 6975"/>
                  <a:gd name="T34" fmla="*/ 297 w 9581"/>
                  <a:gd name="T35" fmla="*/ 6322 h 6975"/>
                  <a:gd name="T36" fmla="*/ 154 w 9581"/>
                  <a:gd name="T37" fmla="*/ 6253 h 6975"/>
                  <a:gd name="T38" fmla="*/ 326 w 9581"/>
                  <a:gd name="T39" fmla="*/ 5290 h 6975"/>
                  <a:gd name="T40" fmla="*/ 326 w 9581"/>
                  <a:gd name="T41" fmla="*/ 4540 h 6975"/>
                  <a:gd name="T42" fmla="*/ 833 w 9581"/>
                  <a:gd name="T43" fmla="*/ 3479 h 6975"/>
                  <a:gd name="T44" fmla="*/ 919 w 9581"/>
                  <a:gd name="T45" fmla="*/ 3013 h 6975"/>
                  <a:gd name="T46" fmla="*/ 961 w 9581"/>
                  <a:gd name="T47" fmla="*/ 2814 h 6975"/>
                  <a:gd name="T48" fmla="*/ 1373 w 9581"/>
                  <a:gd name="T49" fmla="*/ 2559 h 6975"/>
                  <a:gd name="T50" fmla="*/ 1797 w 9581"/>
                  <a:gd name="T51" fmla="*/ 3096 h 6975"/>
                  <a:gd name="T52" fmla="*/ 1995 w 9581"/>
                  <a:gd name="T53" fmla="*/ 3466 h 6975"/>
                  <a:gd name="T54" fmla="*/ 2164 w 9581"/>
                  <a:gd name="T55" fmla="*/ 3650 h 6975"/>
                  <a:gd name="T56" fmla="*/ 2292 w 9581"/>
                  <a:gd name="T57" fmla="*/ 3692 h 6975"/>
                  <a:gd name="T58" fmla="*/ 2674 w 9581"/>
                  <a:gd name="T59" fmla="*/ 3140 h 6975"/>
                  <a:gd name="T60" fmla="*/ 2532 w 9581"/>
                  <a:gd name="T61" fmla="*/ 2334 h 6975"/>
                  <a:gd name="T62" fmla="*/ 2491 w 9581"/>
                  <a:gd name="T63" fmla="*/ 2165 h 6975"/>
                  <a:gd name="T64" fmla="*/ 2603 w 9581"/>
                  <a:gd name="T65" fmla="*/ 2248 h 6975"/>
                  <a:gd name="T66" fmla="*/ 3128 w 9581"/>
                  <a:gd name="T67" fmla="*/ 1910 h 6975"/>
                  <a:gd name="T68" fmla="*/ 3410 w 9581"/>
                  <a:gd name="T69" fmla="*/ 1427 h 6975"/>
                  <a:gd name="T70" fmla="*/ 4329 w 9581"/>
                  <a:gd name="T71" fmla="*/ 1003 h 6975"/>
                  <a:gd name="T72" fmla="*/ 4542 w 9581"/>
                  <a:gd name="T73" fmla="*/ 792 h 6975"/>
                  <a:gd name="T74" fmla="*/ 4782 w 9581"/>
                  <a:gd name="T75" fmla="*/ 380 h 6975"/>
                  <a:gd name="T76" fmla="*/ 4993 w 9581"/>
                  <a:gd name="T77" fmla="*/ 324 h 6975"/>
                  <a:gd name="T78" fmla="*/ 5094 w 9581"/>
                  <a:gd name="T79" fmla="*/ 309 h 6975"/>
                  <a:gd name="T80" fmla="*/ 5192 w 9581"/>
                  <a:gd name="T81" fmla="*/ 211 h 6975"/>
                  <a:gd name="T82" fmla="*/ 5743 w 9581"/>
                  <a:gd name="T83" fmla="*/ 395 h 6975"/>
                  <a:gd name="T84" fmla="*/ 5829 w 9581"/>
                  <a:gd name="T85" fmla="*/ 608 h 6975"/>
                  <a:gd name="T86" fmla="*/ 6084 w 9581"/>
                  <a:gd name="T87" fmla="*/ 650 h 6975"/>
                  <a:gd name="T88" fmla="*/ 6226 w 9581"/>
                  <a:gd name="T89" fmla="*/ 437 h 6975"/>
                  <a:gd name="T90" fmla="*/ 6707 w 9581"/>
                  <a:gd name="T91" fmla="*/ 140 h 6975"/>
                  <a:gd name="T92" fmla="*/ 6976 w 9581"/>
                  <a:gd name="T93" fmla="*/ 282 h 6975"/>
                  <a:gd name="T94" fmla="*/ 7101 w 9581"/>
                  <a:gd name="T95" fmla="*/ 594 h 6975"/>
                  <a:gd name="T96" fmla="*/ 7371 w 9581"/>
                  <a:gd name="T97" fmla="*/ 564 h 6975"/>
                  <a:gd name="T98" fmla="*/ 7866 w 9581"/>
                  <a:gd name="T99" fmla="*/ 523 h 6975"/>
                  <a:gd name="T100" fmla="*/ 8163 w 9581"/>
                  <a:gd name="T101" fmla="*/ 635 h 6975"/>
                  <a:gd name="T102" fmla="*/ 8717 w 9581"/>
                  <a:gd name="T103" fmla="*/ 1145 h 6975"/>
                  <a:gd name="T104" fmla="*/ 9070 w 9581"/>
                  <a:gd name="T105" fmla="*/ 1498 h 6975"/>
                  <a:gd name="T106" fmla="*/ 9111 w 9581"/>
                  <a:gd name="T107" fmla="*/ 1599 h 6975"/>
                  <a:gd name="T108" fmla="*/ 9423 w 9581"/>
                  <a:gd name="T109" fmla="*/ 1795 h 6975"/>
                  <a:gd name="T110" fmla="*/ 9381 w 9581"/>
                  <a:gd name="T111" fmla="*/ 2290 h 69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581" h="6975">
                    <a:moveTo>
                      <a:pt x="9452" y="2361"/>
                    </a:moveTo>
                    <a:lnTo>
                      <a:pt x="9452" y="2361"/>
                    </a:lnTo>
                    <a:cubicBezTo>
                      <a:pt x="9366" y="2533"/>
                      <a:pt x="9366" y="2533"/>
                      <a:pt x="9366" y="2533"/>
                    </a:cubicBezTo>
                    <a:cubicBezTo>
                      <a:pt x="9366" y="2574"/>
                      <a:pt x="9325" y="2589"/>
                      <a:pt x="9310" y="2631"/>
                    </a:cubicBezTo>
                    <a:cubicBezTo>
                      <a:pt x="9295" y="2702"/>
                      <a:pt x="9396" y="2729"/>
                      <a:pt x="9366" y="2829"/>
                    </a:cubicBezTo>
                    <a:cubicBezTo>
                      <a:pt x="9310" y="2957"/>
                      <a:pt x="9381" y="3028"/>
                      <a:pt x="9464" y="3126"/>
                    </a:cubicBezTo>
                    <a:cubicBezTo>
                      <a:pt x="9580" y="3226"/>
                      <a:pt x="9509" y="3310"/>
                      <a:pt x="9464" y="3452"/>
                    </a:cubicBezTo>
                    <a:cubicBezTo>
                      <a:pt x="9464" y="3535"/>
                      <a:pt x="9381" y="3606"/>
                      <a:pt x="9366" y="3692"/>
                    </a:cubicBezTo>
                    <a:cubicBezTo>
                      <a:pt x="9337" y="3763"/>
                      <a:pt x="9438" y="3861"/>
                      <a:pt x="9381" y="3890"/>
                    </a:cubicBezTo>
                    <a:cubicBezTo>
                      <a:pt x="9224" y="4018"/>
                      <a:pt x="9224" y="4018"/>
                      <a:pt x="9224" y="4018"/>
                    </a:cubicBezTo>
                    <a:cubicBezTo>
                      <a:pt x="9168" y="4074"/>
                      <a:pt x="9126" y="3989"/>
                      <a:pt x="9082" y="3947"/>
                    </a:cubicBezTo>
                    <a:cubicBezTo>
                      <a:pt x="9040" y="3917"/>
                      <a:pt x="8857" y="3974"/>
                      <a:pt x="8785" y="3974"/>
                    </a:cubicBezTo>
                    <a:cubicBezTo>
                      <a:pt x="8646" y="3974"/>
                      <a:pt x="8646" y="3989"/>
                      <a:pt x="8560" y="4060"/>
                    </a:cubicBezTo>
                    <a:cubicBezTo>
                      <a:pt x="8531" y="4074"/>
                      <a:pt x="8462" y="4018"/>
                      <a:pt x="8432" y="4131"/>
                    </a:cubicBezTo>
                    <a:cubicBezTo>
                      <a:pt x="8391" y="4300"/>
                      <a:pt x="8278" y="4498"/>
                      <a:pt x="8278" y="4682"/>
                    </a:cubicBezTo>
                    <a:lnTo>
                      <a:pt x="8278" y="4682"/>
                    </a:lnTo>
                    <a:cubicBezTo>
                      <a:pt x="8178" y="4753"/>
                      <a:pt x="8121" y="5035"/>
                      <a:pt x="8035" y="5092"/>
                    </a:cubicBezTo>
                    <a:cubicBezTo>
                      <a:pt x="7979" y="5136"/>
                      <a:pt x="7739" y="5163"/>
                      <a:pt x="7668" y="5177"/>
                    </a:cubicBezTo>
                    <a:cubicBezTo>
                      <a:pt x="7597" y="5177"/>
                      <a:pt x="7413" y="5092"/>
                      <a:pt x="7371" y="5136"/>
                    </a:cubicBezTo>
                    <a:cubicBezTo>
                      <a:pt x="7273" y="5219"/>
                      <a:pt x="7300" y="5391"/>
                      <a:pt x="7258" y="5503"/>
                    </a:cubicBezTo>
                    <a:cubicBezTo>
                      <a:pt x="7229" y="5658"/>
                      <a:pt x="7060" y="5815"/>
                      <a:pt x="7089" y="5942"/>
                    </a:cubicBezTo>
                    <a:cubicBezTo>
                      <a:pt x="7131" y="6168"/>
                      <a:pt x="6793" y="6055"/>
                      <a:pt x="6650" y="6025"/>
                    </a:cubicBezTo>
                    <a:cubicBezTo>
                      <a:pt x="6550" y="5954"/>
                      <a:pt x="6550" y="6025"/>
                      <a:pt x="6452" y="6040"/>
                    </a:cubicBezTo>
                    <a:cubicBezTo>
                      <a:pt x="6395" y="6055"/>
                      <a:pt x="6324" y="5969"/>
                      <a:pt x="6253" y="5942"/>
                    </a:cubicBezTo>
                    <a:cubicBezTo>
                      <a:pt x="6069" y="5883"/>
                      <a:pt x="6310" y="5714"/>
                      <a:pt x="5998" y="5699"/>
                    </a:cubicBezTo>
                    <a:cubicBezTo>
                      <a:pt x="5547" y="5687"/>
                      <a:pt x="5150" y="5942"/>
                      <a:pt x="4797" y="6195"/>
                    </a:cubicBezTo>
                    <a:lnTo>
                      <a:pt x="4797" y="6195"/>
                    </a:lnTo>
                    <a:cubicBezTo>
                      <a:pt x="4555" y="6337"/>
                      <a:pt x="4415" y="6464"/>
                      <a:pt x="4202" y="6663"/>
                    </a:cubicBezTo>
                    <a:cubicBezTo>
                      <a:pt x="4047" y="6817"/>
                      <a:pt x="3849" y="6790"/>
                      <a:pt x="3650" y="6861"/>
                    </a:cubicBezTo>
                    <a:cubicBezTo>
                      <a:pt x="3523" y="6888"/>
                      <a:pt x="3395" y="6832"/>
                      <a:pt x="3368" y="6974"/>
                    </a:cubicBezTo>
                    <a:cubicBezTo>
                      <a:pt x="2348" y="6719"/>
                      <a:pt x="2348" y="6719"/>
                      <a:pt x="2348" y="6719"/>
                    </a:cubicBezTo>
                    <a:cubicBezTo>
                      <a:pt x="1302" y="6562"/>
                      <a:pt x="1302" y="6562"/>
                      <a:pt x="1302" y="6562"/>
                    </a:cubicBezTo>
                    <a:cubicBezTo>
                      <a:pt x="708" y="6535"/>
                      <a:pt x="708" y="6535"/>
                      <a:pt x="708" y="6535"/>
                    </a:cubicBezTo>
                    <a:lnTo>
                      <a:pt x="708" y="6535"/>
                    </a:lnTo>
                    <a:cubicBezTo>
                      <a:pt x="735" y="6464"/>
                      <a:pt x="735" y="6464"/>
                      <a:pt x="735" y="6464"/>
                    </a:cubicBezTo>
                    <a:cubicBezTo>
                      <a:pt x="297" y="6322"/>
                      <a:pt x="297" y="6322"/>
                      <a:pt x="297" y="6322"/>
                    </a:cubicBezTo>
                    <a:cubicBezTo>
                      <a:pt x="240" y="6253"/>
                      <a:pt x="240" y="6253"/>
                      <a:pt x="240" y="6253"/>
                    </a:cubicBezTo>
                    <a:cubicBezTo>
                      <a:pt x="154" y="6253"/>
                      <a:pt x="154" y="6253"/>
                      <a:pt x="154" y="6253"/>
                    </a:cubicBezTo>
                    <a:cubicBezTo>
                      <a:pt x="0" y="6168"/>
                      <a:pt x="0" y="6168"/>
                      <a:pt x="0" y="6168"/>
                    </a:cubicBezTo>
                    <a:cubicBezTo>
                      <a:pt x="326" y="5290"/>
                      <a:pt x="326" y="5290"/>
                      <a:pt x="326" y="5290"/>
                    </a:cubicBezTo>
                    <a:cubicBezTo>
                      <a:pt x="466" y="5219"/>
                      <a:pt x="637" y="5065"/>
                      <a:pt x="637" y="4893"/>
                    </a:cubicBezTo>
                    <a:cubicBezTo>
                      <a:pt x="637" y="4753"/>
                      <a:pt x="424" y="4626"/>
                      <a:pt x="326" y="4540"/>
                    </a:cubicBezTo>
                    <a:cubicBezTo>
                      <a:pt x="480" y="3606"/>
                      <a:pt x="480" y="3606"/>
                      <a:pt x="480" y="3606"/>
                    </a:cubicBezTo>
                    <a:cubicBezTo>
                      <a:pt x="833" y="3479"/>
                      <a:pt x="833" y="3479"/>
                      <a:pt x="833" y="3479"/>
                    </a:cubicBezTo>
                    <a:cubicBezTo>
                      <a:pt x="1020" y="3182"/>
                      <a:pt x="1020" y="3182"/>
                      <a:pt x="1020" y="3182"/>
                    </a:cubicBezTo>
                    <a:cubicBezTo>
                      <a:pt x="919" y="3013"/>
                      <a:pt x="919" y="3013"/>
                      <a:pt x="919" y="3013"/>
                    </a:cubicBezTo>
                    <a:cubicBezTo>
                      <a:pt x="919" y="2998"/>
                      <a:pt x="934" y="2984"/>
                      <a:pt x="934" y="2984"/>
                    </a:cubicBezTo>
                    <a:cubicBezTo>
                      <a:pt x="1032" y="2984"/>
                      <a:pt x="949" y="2844"/>
                      <a:pt x="961" y="2814"/>
                    </a:cubicBezTo>
                    <a:cubicBezTo>
                      <a:pt x="990" y="2743"/>
                      <a:pt x="1047" y="2773"/>
                      <a:pt x="1088" y="2702"/>
                    </a:cubicBezTo>
                    <a:cubicBezTo>
                      <a:pt x="1133" y="2631"/>
                      <a:pt x="1287" y="2417"/>
                      <a:pt x="1373" y="2559"/>
                    </a:cubicBezTo>
                    <a:cubicBezTo>
                      <a:pt x="1387" y="2616"/>
                      <a:pt x="1485" y="2729"/>
                      <a:pt x="1542" y="2743"/>
                    </a:cubicBezTo>
                    <a:cubicBezTo>
                      <a:pt x="1669" y="2787"/>
                      <a:pt x="1726" y="2971"/>
                      <a:pt x="1797" y="3096"/>
                    </a:cubicBezTo>
                    <a:cubicBezTo>
                      <a:pt x="1826" y="3155"/>
                      <a:pt x="1910" y="3226"/>
                      <a:pt x="1910" y="3283"/>
                    </a:cubicBezTo>
                    <a:cubicBezTo>
                      <a:pt x="1924" y="3366"/>
                      <a:pt x="1939" y="3408"/>
                      <a:pt x="1995" y="3466"/>
                    </a:cubicBezTo>
                    <a:cubicBezTo>
                      <a:pt x="2010" y="3493"/>
                      <a:pt x="2037" y="3579"/>
                      <a:pt x="2052" y="3606"/>
                    </a:cubicBezTo>
                    <a:cubicBezTo>
                      <a:pt x="2079" y="3636"/>
                      <a:pt x="2135" y="3564"/>
                      <a:pt x="2164" y="3650"/>
                    </a:cubicBezTo>
                    <a:cubicBezTo>
                      <a:pt x="2179" y="3677"/>
                      <a:pt x="2206" y="3650"/>
                      <a:pt x="2221" y="3650"/>
                    </a:cubicBezTo>
                    <a:cubicBezTo>
                      <a:pt x="2250" y="3663"/>
                      <a:pt x="2265" y="3692"/>
                      <a:pt x="2292" y="3692"/>
                    </a:cubicBezTo>
                    <a:cubicBezTo>
                      <a:pt x="2348" y="3493"/>
                      <a:pt x="2900" y="3564"/>
                      <a:pt x="2814" y="3253"/>
                    </a:cubicBezTo>
                    <a:cubicBezTo>
                      <a:pt x="2814" y="3197"/>
                      <a:pt x="2645" y="3182"/>
                      <a:pt x="2674" y="3140"/>
                    </a:cubicBezTo>
                    <a:cubicBezTo>
                      <a:pt x="2745" y="3069"/>
                      <a:pt x="2645" y="2856"/>
                      <a:pt x="2630" y="2773"/>
                    </a:cubicBezTo>
                    <a:cubicBezTo>
                      <a:pt x="2618" y="2631"/>
                      <a:pt x="2547" y="2474"/>
                      <a:pt x="2532" y="2334"/>
                    </a:cubicBezTo>
                    <a:cubicBezTo>
                      <a:pt x="2532" y="2263"/>
                      <a:pt x="2532" y="2263"/>
                      <a:pt x="2532" y="2263"/>
                    </a:cubicBezTo>
                    <a:cubicBezTo>
                      <a:pt x="2491" y="2248"/>
                      <a:pt x="2491" y="2192"/>
                      <a:pt x="2491" y="2165"/>
                    </a:cubicBezTo>
                    <a:cubicBezTo>
                      <a:pt x="2505" y="2165"/>
                      <a:pt x="2505" y="2150"/>
                      <a:pt x="2505" y="2150"/>
                    </a:cubicBezTo>
                    <a:cubicBezTo>
                      <a:pt x="2547" y="2150"/>
                      <a:pt x="2562" y="2233"/>
                      <a:pt x="2603" y="2248"/>
                    </a:cubicBezTo>
                    <a:cubicBezTo>
                      <a:pt x="2645" y="2263"/>
                      <a:pt x="2689" y="2207"/>
                      <a:pt x="2716" y="2248"/>
                    </a:cubicBezTo>
                    <a:cubicBezTo>
                      <a:pt x="2814" y="2349"/>
                      <a:pt x="3069" y="1952"/>
                      <a:pt x="3128" y="1910"/>
                    </a:cubicBezTo>
                    <a:cubicBezTo>
                      <a:pt x="3297" y="1782"/>
                      <a:pt x="3466" y="1880"/>
                      <a:pt x="3466" y="1611"/>
                    </a:cubicBezTo>
                    <a:cubicBezTo>
                      <a:pt x="3368" y="1584"/>
                      <a:pt x="3395" y="1498"/>
                      <a:pt x="3410" y="1427"/>
                    </a:cubicBezTo>
                    <a:cubicBezTo>
                      <a:pt x="3496" y="1160"/>
                      <a:pt x="3750" y="1456"/>
                      <a:pt x="3934" y="1231"/>
                    </a:cubicBezTo>
                    <a:cubicBezTo>
                      <a:pt x="4032" y="1103"/>
                      <a:pt x="4187" y="1047"/>
                      <a:pt x="4329" y="1003"/>
                    </a:cubicBezTo>
                    <a:cubicBezTo>
                      <a:pt x="4400" y="991"/>
                      <a:pt x="4471" y="961"/>
                      <a:pt x="4528" y="920"/>
                    </a:cubicBezTo>
                    <a:cubicBezTo>
                      <a:pt x="4613" y="863"/>
                      <a:pt x="4528" y="849"/>
                      <a:pt x="4542" y="792"/>
                    </a:cubicBezTo>
                    <a:cubicBezTo>
                      <a:pt x="4655" y="792"/>
                      <a:pt x="4555" y="623"/>
                      <a:pt x="4670" y="692"/>
                    </a:cubicBezTo>
                    <a:cubicBezTo>
                      <a:pt x="4782" y="763"/>
                      <a:pt x="4768" y="410"/>
                      <a:pt x="4782" y="380"/>
                    </a:cubicBezTo>
                    <a:cubicBezTo>
                      <a:pt x="4824" y="339"/>
                      <a:pt x="4868" y="268"/>
                      <a:pt x="4910" y="324"/>
                    </a:cubicBezTo>
                    <a:cubicBezTo>
                      <a:pt x="4925" y="339"/>
                      <a:pt x="4981" y="297"/>
                      <a:pt x="4993" y="324"/>
                    </a:cubicBezTo>
                    <a:cubicBezTo>
                      <a:pt x="5008" y="339"/>
                      <a:pt x="4966" y="380"/>
                      <a:pt x="4966" y="395"/>
                    </a:cubicBezTo>
                    <a:cubicBezTo>
                      <a:pt x="5052" y="508"/>
                      <a:pt x="5079" y="339"/>
                      <a:pt x="5094" y="309"/>
                    </a:cubicBezTo>
                    <a:cubicBezTo>
                      <a:pt x="5052" y="241"/>
                      <a:pt x="5037" y="125"/>
                      <a:pt x="5037" y="57"/>
                    </a:cubicBezTo>
                    <a:cubicBezTo>
                      <a:pt x="5192" y="98"/>
                      <a:pt x="5121" y="113"/>
                      <a:pt x="5192" y="211"/>
                    </a:cubicBezTo>
                    <a:cubicBezTo>
                      <a:pt x="5248" y="297"/>
                      <a:pt x="5574" y="170"/>
                      <a:pt x="5631" y="226"/>
                    </a:cubicBezTo>
                    <a:cubicBezTo>
                      <a:pt x="5687" y="282"/>
                      <a:pt x="5788" y="309"/>
                      <a:pt x="5743" y="395"/>
                    </a:cubicBezTo>
                    <a:cubicBezTo>
                      <a:pt x="5731" y="424"/>
                      <a:pt x="5672" y="424"/>
                      <a:pt x="5660" y="424"/>
                    </a:cubicBezTo>
                    <a:cubicBezTo>
                      <a:pt x="5518" y="481"/>
                      <a:pt x="5702" y="650"/>
                      <a:pt x="5829" y="608"/>
                    </a:cubicBezTo>
                    <a:cubicBezTo>
                      <a:pt x="5915" y="594"/>
                      <a:pt x="5957" y="523"/>
                      <a:pt x="6040" y="493"/>
                    </a:cubicBezTo>
                    <a:cubicBezTo>
                      <a:pt x="6111" y="466"/>
                      <a:pt x="6040" y="623"/>
                      <a:pt x="6084" y="650"/>
                    </a:cubicBezTo>
                    <a:cubicBezTo>
                      <a:pt x="6099" y="608"/>
                      <a:pt x="6212" y="623"/>
                      <a:pt x="6239" y="579"/>
                    </a:cubicBezTo>
                    <a:cubicBezTo>
                      <a:pt x="6268" y="523"/>
                      <a:pt x="6197" y="481"/>
                      <a:pt x="6226" y="437"/>
                    </a:cubicBezTo>
                    <a:cubicBezTo>
                      <a:pt x="6381" y="69"/>
                      <a:pt x="6467" y="380"/>
                      <a:pt x="6650" y="241"/>
                    </a:cubicBezTo>
                    <a:cubicBezTo>
                      <a:pt x="6663" y="226"/>
                      <a:pt x="6663" y="125"/>
                      <a:pt x="6707" y="140"/>
                    </a:cubicBezTo>
                    <a:cubicBezTo>
                      <a:pt x="6805" y="197"/>
                      <a:pt x="6905" y="0"/>
                      <a:pt x="6918" y="57"/>
                    </a:cubicBezTo>
                    <a:cubicBezTo>
                      <a:pt x="6976" y="282"/>
                      <a:pt x="6976" y="282"/>
                      <a:pt x="6976" y="282"/>
                    </a:cubicBezTo>
                    <a:cubicBezTo>
                      <a:pt x="6976" y="324"/>
                      <a:pt x="7018" y="368"/>
                      <a:pt x="7033" y="410"/>
                    </a:cubicBezTo>
                    <a:cubicBezTo>
                      <a:pt x="7045" y="466"/>
                      <a:pt x="7074" y="537"/>
                      <a:pt x="7101" y="594"/>
                    </a:cubicBezTo>
                    <a:cubicBezTo>
                      <a:pt x="7116" y="650"/>
                      <a:pt x="7202" y="650"/>
                      <a:pt x="7244" y="623"/>
                    </a:cubicBezTo>
                    <a:cubicBezTo>
                      <a:pt x="7285" y="594"/>
                      <a:pt x="7315" y="579"/>
                      <a:pt x="7371" y="564"/>
                    </a:cubicBezTo>
                    <a:cubicBezTo>
                      <a:pt x="7457" y="537"/>
                      <a:pt x="7597" y="594"/>
                      <a:pt x="7724" y="564"/>
                    </a:cubicBezTo>
                    <a:cubicBezTo>
                      <a:pt x="7780" y="552"/>
                      <a:pt x="7825" y="537"/>
                      <a:pt x="7866" y="523"/>
                    </a:cubicBezTo>
                    <a:cubicBezTo>
                      <a:pt x="7979" y="564"/>
                      <a:pt x="7979" y="564"/>
                      <a:pt x="7979" y="564"/>
                    </a:cubicBezTo>
                    <a:cubicBezTo>
                      <a:pt x="8050" y="594"/>
                      <a:pt x="8121" y="552"/>
                      <a:pt x="8163" y="635"/>
                    </a:cubicBezTo>
                    <a:cubicBezTo>
                      <a:pt x="8192" y="706"/>
                      <a:pt x="8391" y="665"/>
                      <a:pt x="8391" y="863"/>
                    </a:cubicBezTo>
                    <a:cubicBezTo>
                      <a:pt x="8391" y="1074"/>
                      <a:pt x="8545" y="1116"/>
                      <a:pt x="8717" y="1145"/>
                    </a:cubicBezTo>
                    <a:cubicBezTo>
                      <a:pt x="8815" y="1172"/>
                      <a:pt x="8898" y="1231"/>
                      <a:pt x="8969" y="1302"/>
                    </a:cubicBezTo>
                    <a:cubicBezTo>
                      <a:pt x="9026" y="1358"/>
                      <a:pt x="9013" y="1427"/>
                      <a:pt x="9070" y="1498"/>
                    </a:cubicBezTo>
                    <a:cubicBezTo>
                      <a:pt x="9055" y="1498"/>
                      <a:pt x="9055" y="1528"/>
                      <a:pt x="9055" y="1542"/>
                    </a:cubicBezTo>
                    <a:cubicBezTo>
                      <a:pt x="9111" y="1599"/>
                      <a:pt x="9111" y="1599"/>
                      <a:pt x="9111" y="1599"/>
                    </a:cubicBezTo>
                    <a:cubicBezTo>
                      <a:pt x="9183" y="1626"/>
                      <a:pt x="9153" y="1697"/>
                      <a:pt x="9210" y="1697"/>
                    </a:cubicBezTo>
                    <a:cubicBezTo>
                      <a:pt x="9310" y="1711"/>
                      <a:pt x="9325" y="1768"/>
                      <a:pt x="9423" y="1795"/>
                    </a:cubicBezTo>
                    <a:cubicBezTo>
                      <a:pt x="9479" y="1809"/>
                      <a:pt x="9352" y="2008"/>
                      <a:pt x="9337" y="2108"/>
                    </a:cubicBezTo>
                    <a:cubicBezTo>
                      <a:pt x="9337" y="2207"/>
                      <a:pt x="9310" y="2207"/>
                      <a:pt x="9381" y="2290"/>
                    </a:cubicBezTo>
                    <a:cubicBezTo>
                      <a:pt x="9396" y="2319"/>
                      <a:pt x="9423" y="2349"/>
                      <a:pt x="9452" y="2361"/>
                    </a:cubicBezTo>
                  </a:path>
                </a:pathLst>
              </a:custGeom>
              <a:solidFill>
                <a:schemeClr val="accent5"/>
              </a:solidFill>
              <a:ln w="28575" cap="flat" cmpd="sng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lIns="45720" tIns="22860" rIns="45720" bIns="22860" anchor="ctr"/>
              <a:lstStyle/>
              <a:p>
                <a:endParaRPr lang="en-US" sz="1400" dirty="0">
                  <a:latin typeface="Lato Light" charset="0"/>
                </a:endParaRPr>
              </a:p>
            </p:txBody>
          </p:sp>
          <p:sp>
            <p:nvSpPr>
              <p:cNvPr id="29" name="Freeform 3"/>
              <p:cNvSpPr>
                <a:spLocks noChangeArrowheads="1"/>
              </p:cNvSpPr>
              <p:nvPr/>
            </p:nvSpPr>
            <p:spPr bwMode="auto">
              <a:xfrm>
                <a:off x="3963546" y="4237119"/>
                <a:ext cx="1952597" cy="1071422"/>
              </a:xfrm>
              <a:custGeom>
                <a:avLst/>
                <a:gdLst>
                  <a:gd name="T0" fmla="*/ 7697 w 10951"/>
                  <a:gd name="T1" fmla="*/ 56 h 5476"/>
                  <a:gd name="T2" fmla="*/ 8136 w 10951"/>
                  <a:gd name="T3" fmla="*/ 225 h 5476"/>
                  <a:gd name="T4" fmla="*/ 8219 w 10951"/>
                  <a:gd name="T5" fmla="*/ 764 h 5476"/>
                  <a:gd name="T6" fmla="*/ 8800 w 10951"/>
                  <a:gd name="T7" fmla="*/ 948 h 5476"/>
                  <a:gd name="T8" fmla="*/ 9197 w 10951"/>
                  <a:gd name="T9" fmla="*/ 1331 h 5476"/>
                  <a:gd name="T10" fmla="*/ 9423 w 10951"/>
                  <a:gd name="T11" fmla="*/ 3041 h 5476"/>
                  <a:gd name="T12" fmla="*/ 9479 w 10951"/>
                  <a:gd name="T13" fmla="*/ 3961 h 5476"/>
                  <a:gd name="T14" fmla="*/ 10796 w 10951"/>
                  <a:gd name="T15" fmla="*/ 4966 h 5476"/>
                  <a:gd name="T16" fmla="*/ 10950 w 10951"/>
                  <a:gd name="T17" fmla="*/ 5404 h 5476"/>
                  <a:gd name="T18" fmla="*/ 10541 w 10951"/>
                  <a:gd name="T19" fmla="*/ 5304 h 5476"/>
                  <a:gd name="T20" fmla="*/ 9876 w 10951"/>
                  <a:gd name="T21" fmla="*/ 4767 h 5476"/>
                  <a:gd name="T22" fmla="*/ 9239 w 10951"/>
                  <a:gd name="T23" fmla="*/ 4966 h 5476"/>
                  <a:gd name="T24" fmla="*/ 7967 w 10951"/>
                  <a:gd name="T25" fmla="*/ 5262 h 5476"/>
                  <a:gd name="T26" fmla="*/ 6891 w 10951"/>
                  <a:gd name="T27" fmla="*/ 5179 h 5476"/>
                  <a:gd name="T28" fmla="*/ 6976 w 10951"/>
                  <a:gd name="T29" fmla="*/ 4809 h 5476"/>
                  <a:gd name="T30" fmla="*/ 6395 w 10951"/>
                  <a:gd name="T31" fmla="*/ 4385 h 5476"/>
                  <a:gd name="T32" fmla="*/ 5518 w 10951"/>
                  <a:gd name="T33" fmla="*/ 4485 h 5476"/>
                  <a:gd name="T34" fmla="*/ 5165 w 10951"/>
                  <a:gd name="T35" fmla="*/ 4144 h 5476"/>
                  <a:gd name="T36" fmla="*/ 4273 w 10951"/>
                  <a:gd name="T37" fmla="*/ 4287 h 5476"/>
                  <a:gd name="T38" fmla="*/ 4032 w 10951"/>
                  <a:gd name="T39" fmla="*/ 4370 h 5476"/>
                  <a:gd name="T40" fmla="*/ 3692 w 10951"/>
                  <a:gd name="T41" fmla="*/ 4654 h 5476"/>
                  <a:gd name="T42" fmla="*/ 3368 w 10951"/>
                  <a:gd name="T43" fmla="*/ 4853 h 5476"/>
                  <a:gd name="T44" fmla="*/ 3312 w 10951"/>
                  <a:gd name="T45" fmla="*/ 5304 h 5476"/>
                  <a:gd name="T46" fmla="*/ 3000 w 10951"/>
                  <a:gd name="T47" fmla="*/ 5319 h 5476"/>
                  <a:gd name="T48" fmla="*/ 2787 w 10951"/>
                  <a:gd name="T49" fmla="*/ 5390 h 5476"/>
                  <a:gd name="T50" fmla="*/ 2348 w 10951"/>
                  <a:gd name="T51" fmla="*/ 5093 h 5476"/>
                  <a:gd name="T52" fmla="*/ 1868 w 10951"/>
                  <a:gd name="T53" fmla="*/ 4767 h 5476"/>
                  <a:gd name="T54" fmla="*/ 1782 w 10951"/>
                  <a:gd name="T55" fmla="*/ 4669 h 5476"/>
                  <a:gd name="T56" fmla="*/ 2010 w 10951"/>
                  <a:gd name="T57" fmla="*/ 4556 h 5476"/>
                  <a:gd name="T58" fmla="*/ 2194 w 10951"/>
                  <a:gd name="T59" fmla="*/ 4230 h 5476"/>
                  <a:gd name="T60" fmla="*/ 1598 w 10951"/>
                  <a:gd name="T61" fmla="*/ 3282 h 5476"/>
                  <a:gd name="T62" fmla="*/ 1147 w 10951"/>
                  <a:gd name="T63" fmla="*/ 2703 h 5476"/>
                  <a:gd name="T64" fmla="*/ 409 w 10951"/>
                  <a:gd name="T65" fmla="*/ 2561 h 5476"/>
                  <a:gd name="T66" fmla="*/ 154 w 10951"/>
                  <a:gd name="T67" fmla="*/ 2703 h 5476"/>
                  <a:gd name="T68" fmla="*/ 0 w 10951"/>
                  <a:gd name="T69" fmla="*/ 2277 h 5476"/>
                  <a:gd name="T70" fmla="*/ 154 w 10951"/>
                  <a:gd name="T71" fmla="*/ 2164 h 5476"/>
                  <a:gd name="T72" fmla="*/ 71 w 10951"/>
                  <a:gd name="T73" fmla="*/ 2009 h 5476"/>
                  <a:gd name="T74" fmla="*/ 623 w 10951"/>
                  <a:gd name="T75" fmla="*/ 1894 h 5476"/>
                  <a:gd name="T76" fmla="*/ 2971 w 10951"/>
                  <a:gd name="T77" fmla="*/ 2193 h 5476"/>
                  <a:gd name="T78" fmla="*/ 4118 w 10951"/>
                  <a:gd name="T79" fmla="*/ 1527 h 5476"/>
                  <a:gd name="T80" fmla="*/ 5773 w 10951"/>
                  <a:gd name="T81" fmla="*/ 1372 h 5476"/>
                  <a:gd name="T82" fmla="*/ 6579 w 10951"/>
                  <a:gd name="T83" fmla="*/ 835 h 5476"/>
                  <a:gd name="T84" fmla="*/ 7356 w 10951"/>
                  <a:gd name="T85" fmla="*/ 424 h 5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0951" h="5476">
                    <a:moveTo>
                      <a:pt x="7599" y="14"/>
                    </a:moveTo>
                    <a:lnTo>
                      <a:pt x="7599" y="14"/>
                    </a:lnTo>
                    <a:cubicBezTo>
                      <a:pt x="7641" y="14"/>
                      <a:pt x="7655" y="41"/>
                      <a:pt x="7697" y="56"/>
                    </a:cubicBezTo>
                    <a:cubicBezTo>
                      <a:pt x="7768" y="71"/>
                      <a:pt x="7839" y="0"/>
                      <a:pt x="7896" y="56"/>
                    </a:cubicBezTo>
                    <a:cubicBezTo>
                      <a:pt x="7923" y="100"/>
                      <a:pt x="7908" y="156"/>
                      <a:pt x="7979" y="127"/>
                    </a:cubicBezTo>
                    <a:cubicBezTo>
                      <a:pt x="8136" y="85"/>
                      <a:pt x="8136" y="71"/>
                      <a:pt x="8136" y="225"/>
                    </a:cubicBezTo>
                    <a:cubicBezTo>
                      <a:pt x="8136" y="296"/>
                      <a:pt x="8192" y="352"/>
                      <a:pt x="8192" y="424"/>
                    </a:cubicBezTo>
                    <a:cubicBezTo>
                      <a:pt x="8192" y="468"/>
                      <a:pt x="8151" y="495"/>
                      <a:pt x="8163" y="524"/>
                    </a:cubicBezTo>
                    <a:cubicBezTo>
                      <a:pt x="8163" y="566"/>
                      <a:pt x="8207" y="735"/>
                      <a:pt x="8219" y="764"/>
                    </a:cubicBezTo>
                    <a:cubicBezTo>
                      <a:pt x="8249" y="779"/>
                      <a:pt x="8320" y="779"/>
                      <a:pt x="8347" y="791"/>
                    </a:cubicBezTo>
                    <a:cubicBezTo>
                      <a:pt x="8391" y="806"/>
                      <a:pt x="8418" y="848"/>
                      <a:pt x="8462" y="877"/>
                    </a:cubicBezTo>
                    <a:cubicBezTo>
                      <a:pt x="8518" y="892"/>
                      <a:pt x="8759" y="1019"/>
                      <a:pt x="8800" y="948"/>
                    </a:cubicBezTo>
                    <a:cubicBezTo>
                      <a:pt x="8830" y="904"/>
                      <a:pt x="8857" y="622"/>
                      <a:pt x="8984" y="664"/>
                    </a:cubicBezTo>
                    <a:cubicBezTo>
                      <a:pt x="8984" y="779"/>
                      <a:pt x="9168" y="806"/>
                      <a:pt x="9239" y="806"/>
                    </a:cubicBezTo>
                    <a:cubicBezTo>
                      <a:pt x="9310" y="821"/>
                      <a:pt x="9210" y="1259"/>
                      <a:pt x="9197" y="1331"/>
                    </a:cubicBezTo>
                    <a:cubicBezTo>
                      <a:pt x="9141" y="1514"/>
                      <a:pt x="9396" y="1585"/>
                      <a:pt x="9325" y="1811"/>
                    </a:cubicBezTo>
                    <a:cubicBezTo>
                      <a:pt x="9295" y="1909"/>
                      <a:pt x="9339" y="1924"/>
                      <a:pt x="9366" y="2009"/>
                    </a:cubicBezTo>
                    <a:cubicBezTo>
                      <a:pt x="9550" y="2137"/>
                      <a:pt x="9479" y="2858"/>
                      <a:pt x="9423" y="3041"/>
                    </a:cubicBezTo>
                    <a:cubicBezTo>
                      <a:pt x="9423" y="3211"/>
                      <a:pt x="9224" y="3424"/>
                      <a:pt x="9310" y="3593"/>
                    </a:cubicBezTo>
                    <a:cubicBezTo>
                      <a:pt x="9339" y="3635"/>
                      <a:pt x="9381" y="3664"/>
                      <a:pt x="9396" y="3720"/>
                    </a:cubicBezTo>
                    <a:cubicBezTo>
                      <a:pt x="9423" y="3806"/>
                      <a:pt x="9408" y="3877"/>
                      <a:pt x="9479" y="3961"/>
                    </a:cubicBezTo>
                    <a:cubicBezTo>
                      <a:pt x="9648" y="4186"/>
                      <a:pt x="9648" y="4186"/>
                      <a:pt x="9648" y="4186"/>
                    </a:cubicBezTo>
                    <a:cubicBezTo>
                      <a:pt x="9847" y="4512"/>
                      <a:pt x="10188" y="4598"/>
                      <a:pt x="10541" y="4684"/>
                    </a:cubicBezTo>
                    <a:cubicBezTo>
                      <a:pt x="10796" y="4740"/>
                      <a:pt x="10739" y="4740"/>
                      <a:pt x="10796" y="4966"/>
                    </a:cubicBezTo>
                    <a:cubicBezTo>
                      <a:pt x="10825" y="5123"/>
                      <a:pt x="10950" y="5135"/>
                      <a:pt x="10950" y="5319"/>
                    </a:cubicBezTo>
                    <a:cubicBezTo>
                      <a:pt x="10950" y="5404"/>
                      <a:pt x="10950" y="5404"/>
                      <a:pt x="10950" y="5404"/>
                    </a:cubicBezTo>
                    <a:lnTo>
                      <a:pt x="10950" y="5404"/>
                    </a:lnTo>
                    <a:cubicBezTo>
                      <a:pt x="10867" y="5404"/>
                      <a:pt x="10881" y="5419"/>
                      <a:pt x="10796" y="5419"/>
                    </a:cubicBezTo>
                    <a:cubicBezTo>
                      <a:pt x="10653" y="5431"/>
                      <a:pt x="10724" y="5375"/>
                      <a:pt x="10668" y="5333"/>
                    </a:cubicBezTo>
                    <a:cubicBezTo>
                      <a:pt x="10626" y="5304"/>
                      <a:pt x="10582" y="5348"/>
                      <a:pt x="10541" y="5304"/>
                    </a:cubicBezTo>
                    <a:cubicBezTo>
                      <a:pt x="10499" y="5235"/>
                      <a:pt x="10484" y="5191"/>
                      <a:pt x="10386" y="5191"/>
                    </a:cubicBezTo>
                    <a:cubicBezTo>
                      <a:pt x="10215" y="5191"/>
                      <a:pt x="10271" y="5123"/>
                      <a:pt x="10215" y="4993"/>
                    </a:cubicBezTo>
                    <a:cubicBezTo>
                      <a:pt x="10143" y="4853"/>
                      <a:pt x="9947" y="4951"/>
                      <a:pt x="9876" y="4767"/>
                    </a:cubicBezTo>
                    <a:cubicBezTo>
                      <a:pt x="9847" y="4684"/>
                      <a:pt x="9705" y="4823"/>
                      <a:pt x="9678" y="4868"/>
                    </a:cubicBezTo>
                    <a:cubicBezTo>
                      <a:pt x="9621" y="4924"/>
                      <a:pt x="9580" y="4993"/>
                      <a:pt x="9494" y="4993"/>
                    </a:cubicBezTo>
                    <a:cubicBezTo>
                      <a:pt x="9408" y="4993"/>
                      <a:pt x="9339" y="4951"/>
                      <a:pt x="9239" y="4966"/>
                    </a:cubicBezTo>
                    <a:cubicBezTo>
                      <a:pt x="9055" y="5022"/>
                      <a:pt x="8815" y="5064"/>
                      <a:pt x="8616" y="5064"/>
                    </a:cubicBezTo>
                    <a:cubicBezTo>
                      <a:pt x="8489" y="5064"/>
                      <a:pt x="8403" y="4936"/>
                      <a:pt x="8249" y="4980"/>
                    </a:cubicBezTo>
                    <a:cubicBezTo>
                      <a:pt x="8121" y="5022"/>
                      <a:pt x="8065" y="5179"/>
                      <a:pt x="7967" y="5262"/>
                    </a:cubicBezTo>
                    <a:cubicBezTo>
                      <a:pt x="7258" y="5221"/>
                      <a:pt x="7258" y="5221"/>
                      <a:pt x="7258" y="5221"/>
                    </a:cubicBezTo>
                    <a:cubicBezTo>
                      <a:pt x="7018" y="5248"/>
                      <a:pt x="7018" y="5248"/>
                      <a:pt x="7018" y="5248"/>
                    </a:cubicBezTo>
                    <a:cubicBezTo>
                      <a:pt x="6891" y="5179"/>
                      <a:pt x="6891" y="5179"/>
                      <a:pt x="6891" y="5179"/>
                    </a:cubicBezTo>
                    <a:lnTo>
                      <a:pt x="6891" y="5179"/>
                    </a:lnTo>
                    <a:cubicBezTo>
                      <a:pt x="6918" y="5123"/>
                      <a:pt x="6989" y="5007"/>
                      <a:pt x="6989" y="4966"/>
                    </a:cubicBezTo>
                    <a:cubicBezTo>
                      <a:pt x="6989" y="4924"/>
                      <a:pt x="6932" y="4853"/>
                      <a:pt x="6976" y="4809"/>
                    </a:cubicBezTo>
                    <a:cubicBezTo>
                      <a:pt x="7045" y="4640"/>
                      <a:pt x="6947" y="4583"/>
                      <a:pt x="6793" y="4625"/>
                    </a:cubicBezTo>
                    <a:cubicBezTo>
                      <a:pt x="6636" y="4669"/>
                      <a:pt x="6721" y="4456"/>
                      <a:pt x="6594" y="4456"/>
                    </a:cubicBezTo>
                    <a:cubicBezTo>
                      <a:pt x="6481" y="4456"/>
                      <a:pt x="6494" y="4429"/>
                      <a:pt x="6395" y="4385"/>
                    </a:cubicBezTo>
                    <a:cubicBezTo>
                      <a:pt x="6253" y="4314"/>
                      <a:pt x="6239" y="4399"/>
                      <a:pt x="6141" y="4456"/>
                    </a:cubicBezTo>
                    <a:cubicBezTo>
                      <a:pt x="6028" y="4542"/>
                      <a:pt x="5859" y="4358"/>
                      <a:pt x="5743" y="4370"/>
                    </a:cubicBezTo>
                    <a:cubicBezTo>
                      <a:pt x="5631" y="4370"/>
                      <a:pt x="5560" y="4370"/>
                      <a:pt x="5518" y="4485"/>
                    </a:cubicBezTo>
                    <a:cubicBezTo>
                      <a:pt x="5447" y="4429"/>
                      <a:pt x="5518" y="4314"/>
                      <a:pt x="5361" y="4301"/>
                    </a:cubicBezTo>
                    <a:cubicBezTo>
                      <a:pt x="5278" y="4301"/>
                      <a:pt x="5192" y="4385"/>
                      <a:pt x="5248" y="4245"/>
                    </a:cubicBezTo>
                    <a:cubicBezTo>
                      <a:pt x="5292" y="4159"/>
                      <a:pt x="5236" y="4174"/>
                      <a:pt x="5165" y="4144"/>
                    </a:cubicBezTo>
                    <a:cubicBezTo>
                      <a:pt x="5008" y="4061"/>
                      <a:pt x="4783" y="4257"/>
                      <a:pt x="4682" y="4216"/>
                    </a:cubicBezTo>
                    <a:cubicBezTo>
                      <a:pt x="4584" y="4186"/>
                      <a:pt x="4513" y="4103"/>
                      <a:pt x="4400" y="4186"/>
                    </a:cubicBezTo>
                    <a:cubicBezTo>
                      <a:pt x="4385" y="4201"/>
                      <a:pt x="4287" y="4301"/>
                      <a:pt x="4273" y="4287"/>
                    </a:cubicBezTo>
                    <a:cubicBezTo>
                      <a:pt x="4258" y="4272"/>
                      <a:pt x="4273" y="4216"/>
                      <a:pt x="4246" y="4216"/>
                    </a:cubicBezTo>
                    <a:cubicBezTo>
                      <a:pt x="4189" y="4201"/>
                      <a:pt x="4160" y="4370"/>
                      <a:pt x="4145" y="4399"/>
                    </a:cubicBezTo>
                    <a:cubicBezTo>
                      <a:pt x="4059" y="4500"/>
                      <a:pt x="4089" y="4370"/>
                      <a:pt x="4032" y="4370"/>
                    </a:cubicBezTo>
                    <a:cubicBezTo>
                      <a:pt x="4018" y="4328"/>
                      <a:pt x="4032" y="4328"/>
                      <a:pt x="3991" y="4328"/>
                    </a:cubicBezTo>
                    <a:cubicBezTo>
                      <a:pt x="3961" y="4470"/>
                      <a:pt x="3863" y="4370"/>
                      <a:pt x="3834" y="4456"/>
                    </a:cubicBezTo>
                    <a:cubicBezTo>
                      <a:pt x="3819" y="4470"/>
                      <a:pt x="3736" y="4767"/>
                      <a:pt x="3692" y="4654"/>
                    </a:cubicBezTo>
                    <a:cubicBezTo>
                      <a:pt x="3679" y="4625"/>
                      <a:pt x="3692" y="4485"/>
                      <a:pt x="3665" y="4500"/>
                    </a:cubicBezTo>
                    <a:cubicBezTo>
                      <a:pt x="3623" y="4527"/>
                      <a:pt x="3567" y="4625"/>
                      <a:pt x="3537" y="4684"/>
                    </a:cubicBezTo>
                    <a:cubicBezTo>
                      <a:pt x="3508" y="4838"/>
                      <a:pt x="3368" y="4684"/>
                      <a:pt x="3368" y="4853"/>
                    </a:cubicBezTo>
                    <a:cubicBezTo>
                      <a:pt x="3368" y="4924"/>
                      <a:pt x="3424" y="5037"/>
                      <a:pt x="3312" y="5078"/>
                    </a:cubicBezTo>
                    <a:cubicBezTo>
                      <a:pt x="3312" y="5123"/>
                      <a:pt x="3353" y="5135"/>
                      <a:pt x="3339" y="5179"/>
                    </a:cubicBezTo>
                    <a:cubicBezTo>
                      <a:pt x="3312" y="5304"/>
                      <a:pt x="3312" y="5304"/>
                      <a:pt x="3312" y="5304"/>
                    </a:cubicBezTo>
                    <a:cubicBezTo>
                      <a:pt x="3268" y="5431"/>
                      <a:pt x="3268" y="5461"/>
                      <a:pt x="3170" y="5375"/>
                    </a:cubicBezTo>
                    <a:cubicBezTo>
                      <a:pt x="3140" y="5363"/>
                      <a:pt x="3042" y="5333"/>
                      <a:pt x="3013" y="5319"/>
                    </a:cubicBezTo>
                    <a:cubicBezTo>
                      <a:pt x="3000" y="5319"/>
                      <a:pt x="3000" y="5319"/>
                      <a:pt x="3000" y="5319"/>
                    </a:cubicBezTo>
                    <a:cubicBezTo>
                      <a:pt x="3000" y="5333"/>
                      <a:pt x="2944" y="5475"/>
                      <a:pt x="2944" y="5461"/>
                    </a:cubicBezTo>
                    <a:cubicBezTo>
                      <a:pt x="2915" y="5461"/>
                      <a:pt x="2802" y="5404"/>
                      <a:pt x="2787" y="5390"/>
                    </a:cubicBezTo>
                    <a:lnTo>
                      <a:pt x="2787" y="5390"/>
                    </a:lnTo>
                    <a:cubicBezTo>
                      <a:pt x="2787" y="5363"/>
                      <a:pt x="2787" y="5348"/>
                      <a:pt x="2787" y="5333"/>
                    </a:cubicBezTo>
                    <a:cubicBezTo>
                      <a:pt x="2745" y="5262"/>
                      <a:pt x="2674" y="5262"/>
                      <a:pt x="2633" y="5179"/>
                    </a:cubicBezTo>
                    <a:cubicBezTo>
                      <a:pt x="2589" y="5093"/>
                      <a:pt x="2434" y="5108"/>
                      <a:pt x="2348" y="5093"/>
                    </a:cubicBezTo>
                    <a:cubicBezTo>
                      <a:pt x="2307" y="5064"/>
                      <a:pt x="2236" y="5007"/>
                      <a:pt x="2165" y="4993"/>
                    </a:cubicBezTo>
                    <a:cubicBezTo>
                      <a:pt x="2066" y="4880"/>
                      <a:pt x="2066" y="4880"/>
                      <a:pt x="2066" y="4880"/>
                    </a:cubicBezTo>
                    <a:cubicBezTo>
                      <a:pt x="2037" y="4797"/>
                      <a:pt x="1951" y="4767"/>
                      <a:pt x="1868" y="4767"/>
                    </a:cubicBezTo>
                    <a:cubicBezTo>
                      <a:pt x="1853" y="4767"/>
                      <a:pt x="1755" y="4782"/>
                      <a:pt x="1740" y="4752"/>
                    </a:cubicBezTo>
                    <a:cubicBezTo>
                      <a:pt x="1740" y="4740"/>
                      <a:pt x="1782" y="4711"/>
                      <a:pt x="1782" y="4696"/>
                    </a:cubicBezTo>
                    <a:cubicBezTo>
                      <a:pt x="1797" y="4684"/>
                      <a:pt x="1782" y="4684"/>
                      <a:pt x="1782" y="4669"/>
                    </a:cubicBezTo>
                    <a:cubicBezTo>
                      <a:pt x="1755" y="4669"/>
                      <a:pt x="1684" y="4598"/>
                      <a:pt x="1699" y="4569"/>
                    </a:cubicBezTo>
                    <a:cubicBezTo>
                      <a:pt x="1711" y="4512"/>
                      <a:pt x="1755" y="4385"/>
                      <a:pt x="1853" y="4414"/>
                    </a:cubicBezTo>
                    <a:cubicBezTo>
                      <a:pt x="1924" y="4441"/>
                      <a:pt x="1910" y="4556"/>
                      <a:pt x="2010" y="4556"/>
                    </a:cubicBezTo>
                    <a:cubicBezTo>
                      <a:pt x="2194" y="4542"/>
                      <a:pt x="2194" y="4542"/>
                      <a:pt x="2194" y="4542"/>
                    </a:cubicBezTo>
                    <a:cubicBezTo>
                      <a:pt x="2292" y="4414"/>
                      <a:pt x="2292" y="4414"/>
                      <a:pt x="2292" y="4414"/>
                    </a:cubicBezTo>
                    <a:cubicBezTo>
                      <a:pt x="2194" y="4230"/>
                      <a:pt x="2194" y="4230"/>
                      <a:pt x="2194" y="4230"/>
                    </a:cubicBezTo>
                    <a:cubicBezTo>
                      <a:pt x="1910" y="3777"/>
                      <a:pt x="1910" y="3777"/>
                      <a:pt x="1910" y="3777"/>
                    </a:cubicBezTo>
                    <a:cubicBezTo>
                      <a:pt x="1711" y="3282"/>
                      <a:pt x="1711" y="3282"/>
                      <a:pt x="1711" y="3282"/>
                    </a:cubicBezTo>
                    <a:cubicBezTo>
                      <a:pt x="1598" y="3282"/>
                      <a:pt x="1598" y="3282"/>
                      <a:pt x="1598" y="3282"/>
                    </a:cubicBezTo>
                    <a:cubicBezTo>
                      <a:pt x="1444" y="3012"/>
                      <a:pt x="1444" y="3012"/>
                      <a:pt x="1444" y="3012"/>
                    </a:cubicBezTo>
                    <a:cubicBezTo>
                      <a:pt x="1343" y="2843"/>
                      <a:pt x="1343" y="2843"/>
                      <a:pt x="1343" y="2843"/>
                    </a:cubicBezTo>
                    <a:cubicBezTo>
                      <a:pt x="1147" y="2703"/>
                      <a:pt x="1147" y="2703"/>
                      <a:pt x="1147" y="2703"/>
                    </a:cubicBezTo>
                    <a:cubicBezTo>
                      <a:pt x="1032" y="2715"/>
                      <a:pt x="1032" y="2715"/>
                      <a:pt x="1032" y="2715"/>
                    </a:cubicBezTo>
                    <a:cubicBezTo>
                      <a:pt x="694" y="2703"/>
                      <a:pt x="694" y="2703"/>
                      <a:pt x="694" y="2703"/>
                    </a:cubicBezTo>
                    <a:cubicBezTo>
                      <a:pt x="409" y="2561"/>
                      <a:pt x="409" y="2561"/>
                      <a:pt x="409" y="2561"/>
                    </a:cubicBezTo>
                    <a:cubicBezTo>
                      <a:pt x="409" y="2715"/>
                      <a:pt x="409" y="2715"/>
                      <a:pt x="409" y="2715"/>
                    </a:cubicBezTo>
                    <a:cubicBezTo>
                      <a:pt x="368" y="2843"/>
                      <a:pt x="368" y="2843"/>
                      <a:pt x="368" y="2843"/>
                    </a:cubicBezTo>
                    <a:cubicBezTo>
                      <a:pt x="154" y="2703"/>
                      <a:pt x="154" y="2703"/>
                      <a:pt x="154" y="2703"/>
                    </a:cubicBezTo>
                    <a:cubicBezTo>
                      <a:pt x="71" y="2576"/>
                      <a:pt x="71" y="2576"/>
                      <a:pt x="71" y="2576"/>
                    </a:cubicBezTo>
                    <a:cubicBezTo>
                      <a:pt x="127" y="2532"/>
                      <a:pt x="127" y="2532"/>
                      <a:pt x="127" y="2532"/>
                    </a:cubicBezTo>
                    <a:cubicBezTo>
                      <a:pt x="0" y="2277"/>
                      <a:pt x="0" y="2277"/>
                      <a:pt x="0" y="2277"/>
                    </a:cubicBezTo>
                    <a:cubicBezTo>
                      <a:pt x="86" y="2220"/>
                      <a:pt x="86" y="2220"/>
                      <a:pt x="86" y="2220"/>
                    </a:cubicBezTo>
                    <a:cubicBezTo>
                      <a:pt x="98" y="2164"/>
                      <a:pt x="98" y="2164"/>
                      <a:pt x="98" y="2164"/>
                    </a:cubicBezTo>
                    <a:cubicBezTo>
                      <a:pt x="154" y="2164"/>
                      <a:pt x="154" y="2164"/>
                      <a:pt x="154" y="2164"/>
                    </a:cubicBezTo>
                    <a:cubicBezTo>
                      <a:pt x="154" y="2122"/>
                      <a:pt x="154" y="2122"/>
                      <a:pt x="154" y="2122"/>
                    </a:cubicBezTo>
                    <a:cubicBezTo>
                      <a:pt x="42" y="2093"/>
                      <a:pt x="42" y="2093"/>
                      <a:pt x="42" y="2093"/>
                    </a:cubicBezTo>
                    <a:cubicBezTo>
                      <a:pt x="71" y="2009"/>
                      <a:pt x="71" y="2009"/>
                      <a:pt x="71" y="2009"/>
                    </a:cubicBezTo>
                    <a:cubicBezTo>
                      <a:pt x="29" y="1867"/>
                      <a:pt x="29" y="1867"/>
                      <a:pt x="29" y="1867"/>
                    </a:cubicBezTo>
                    <a:lnTo>
                      <a:pt x="29" y="1867"/>
                    </a:lnTo>
                    <a:cubicBezTo>
                      <a:pt x="623" y="1894"/>
                      <a:pt x="623" y="1894"/>
                      <a:pt x="623" y="1894"/>
                    </a:cubicBezTo>
                    <a:cubicBezTo>
                      <a:pt x="1669" y="2051"/>
                      <a:pt x="1669" y="2051"/>
                      <a:pt x="1669" y="2051"/>
                    </a:cubicBezTo>
                    <a:cubicBezTo>
                      <a:pt x="2689" y="2306"/>
                      <a:pt x="2689" y="2306"/>
                      <a:pt x="2689" y="2306"/>
                    </a:cubicBezTo>
                    <a:cubicBezTo>
                      <a:pt x="2716" y="2164"/>
                      <a:pt x="2844" y="2220"/>
                      <a:pt x="2971" y="2193"/>
                    </a:cubicBezTo>
                    <a:cubicBezTo>
                      <a:pt x="3170" y="2122"/>
                      <a:pt x="3368" y="2149"/>
                      <a:pt x="3523" y="1995"/>
                    </a:cubicBezTo>
                    <a:cubicBezTo>
                      <a:pt x="3736" y="1796"/>
                      <a:pt x="3876" y="1669"/>
                      <a:pt x="4118" y="1527"/>
                    </a:cubicBezTo>
                    <a:lnTo>
                      <a:pt x="4118" y="1527"/>
                    </a:lnTo>
                    <a:cubicBezTo>
                      <a:pt x="4471" y="1274"/>
                      <a:pt x="4868" y="1019"/>
                      <a:pt x="5319" y="1031"/>
                    </a:cubicBezTo>
                    <a:cubicBezTo>
                      <a:pt x="5631" y="1046"/>
                      <a:pt x="5390" y="1215"/>
                      <a:pt x="5574" y="1274"/>
                    </a:cubicBezTo>
                    <a:cubicBezTo>
                      <a:pt x="5645" y="1301"/>
                      <a:pt x="5716" y="1387"/>
                      <a:pt x="5773" y="1372"/>
                    </a:cubicBezTo>
                    <a:cubicBezTo>
                      <a:pt x="5871" y="1357"/>
                      <a:pt x="5871" y="1286"/>
                      <a:pt x="5971" y="1357"/>
                    </a:cubicBezTo>
                    <a:cubicBezTo>
                      <a:pt x="6114" y="1387"/>
                      <a:pt x="6452" y="1500"/>
                      <a:pt x="6410" y="1274"/>
                    </a:cubicBezTo>
                    <a:cubicBezTo>
                      <a:pt x="6381" y="1147"/>
                      <a:pt x="6550" y="990"/>
                      <a:pt x="6579" y="835"/>
                    </a:cubicBezTo>
                    <a:cubicBezTo>
                      <a:pt x="6621" y="723"/>
                      <a:pt x="6594" y="551"/>
                      <a:pt x="6692" y="468"/>
                    </a:cubicBezTo>
                    <a:cubicBezTo>
                      <a:pt x="6734" y="424"/>
                      <a:pt x="6918" y="509"/>
                      <a:pt x="6989" y="509"/>
                    </a:cubicBezTo>
                    <a:cubicBezTo>
                      <a:pt x="7060" y="495"/>
                      <a:pt x="7300" y="468"/>
                      <a:pt x="7356" y="424"/>
                    </a:cubicBezTo>
                    <a:cubicBezTo>
                      <a:pt x="7442" y="367"/>
                      <a:pt x="7499" y="85"/>
                      <a:pt x="7599" y="14"/>
                    </a:cubicBezTo>
                  </a:path>
                </a:pathLst>
              </a:custGeom>
              <a:solidFill>
                <a:schemeClr val="bg2">
                  <a:lumMod val="50000"/>
                </a:schemeClr>
              </a:solidFill>
              <a:ln w="28575" cap="flat" cmpd="sng">
                <a:solidFill>
                  <a:schemeClr val="bg1"/>
                </a:solidFill>
                <a:bevel/>
                <a:headEnd/>
                <a:tailEnd/>
              </a:ln>
              <a:effectLst/>
              <a:extLst/>
            </p:spPr>
            <p:txBody>
              <a:bodyPr wrap="none" lIns="45720" tIns="22860" rIns="45720" bIns="22860" anchor="ctr"/>
              <a:lstStyle/>
              <a:p>
                <a:endParaRPr lang="en-US" sz="1400" dirty="0">
                  <a:solidFill>
                    <a:schemeClr val="bg2">
                      <a:lumMod val="50000"/>
                    </a:schemeClr>
                  </a:solidFill>
                  <a:latin typeface="Lato Light" charset="0"/>
                </a:endParaRPr>
              </a:p>
            </p:txBody>
          </p:sp>
          <p:sp>
            <p:nvSpPr>
              <p:cNvPr id="30" name="Freeform 4"/>
              <p:cNvSpPr>
                <a:spLocks noChangeArrowheads="1"/>
              </p:cNvSpPr>
              <p:nvPr/>
            </p:nvSpPr>
            <p:spPr bwMode="auto">
              <a:xfrm>
                <a:off x="4581645" y="5153262"/>
                <a:ext cx="1402914" cy="1721005"/>
              </a:xfrm>
              <a:custGeom>
                <a:avLst/>
                <a:gdLst>
                  <a:gd name="T0" fmla="*/ 3395 w 7867"/>
                  <a:gd name="T1" fmla="*/ 1470 h 8798"/>
                  <a:gd name="T2" fmla="*/ 3268 w 7867"/>
                  <a:gd name="T3" fmla="*/ 1497 h 8798"/>
                  <a:gd name="T4" fmla="*/ 3410 w 7867"/>
                  <a:gd name="T5" fmla="*/ 1569 h 8798"/>
                  <a:gd name="T6" fmla="*/ 836 w 7867"/>
                  <a:gd name="T7" fmla="*/ 2814 h 8798"/>
                  <a:gd name="T8" fmla="*/ 821 w 7867"/>
                  <a:gd name="T9" fmla="*/ 2900 h 8798"/>
                  <a:gd name="T10" fmla="*/ 723 w 7867"/>
                  <a:gd name="T11" fmla="*/ 3027 h 8798"/>
                  <a:gd name="T12" fmla="*/ 664 w 7867"/>
                  <a:gd name="T13" fmla="*/ 2998 h 8798"/>
                  <a:gd name="T14" fmla="*/ 723 w 7867"/>
                  <a:gd name="T15" fmla="*/ 3027 h 8798"/>
                  <a:gd name="T16" fmla="*/ 285 w 7867"/>
                  <a:gd name="T17" fmla="*/ 2757 h 8798"/>
                  <a:gd name="T18" fmla="*/ 383 w 7867"/>
                  <a:gd name="T19" fmla="*/ 2814 h 8798"/>
                  <a:gd name="T20" fmla="*/ 285 w 7867"/>
                  <a:gd name="T21" fmla="*/ 2757 h 8798"/>
                  <a:gd name="T22" fmla="*/ 0 w 7867"/>
                  <a:gd name="T23" fmla="*/ 2757 h 8798"/>
                  <a:gd name="T24" fmla="*/ 101 w 7867"/>
                  <a:gd name="T25" fmla="*/ 2941 h 8798"/>
                  <a:gd name="T26" fmla="*/ 101 w 7867"/>
                  <a:gd name="T27" fmla="*/ 2983 h 8798"/>
                  <a:gd name="T28" fmla="*/ 7866 w 7867"/>
                  <a:gd name="T29" fmla="*/ 2446 h 8798"/>
                  <a:gd name="T30" fmla="*/ 7033 w 7867"/>
                  <a:gd name="T31" fmla="*/ 8657 h 8798"/>
                  <a:gd name="T32" fmla="*/ 6552 w 7867"/>
                  <a:gd name="T33" fmla="*/ 8728 h 8798"/>
                  <a:gd name="T34" fmla="*/ 5972 w 7867"/>
                  <a:gd name="T35" fmla="*/ 8133 h 8798"/>
                  <a:gd name="T36" fmla="*/ 5631 w 7867"/>
                  <a:gd name="T37" fmla="*/ 7525 h 8798"/>
                  <a:gd name="T38" fmla="*/ 3481 w 7867"/>
                  <a:gd name="T39" fmla="*/ 7397 h 8798"/>
                  <a:gd name="T40" fmla="*/ 2900 w 7867"/>
                  <a:gd name="T41" fmla="*/ 7836 h 8798"/>
                  <a:gd name="T42" fmla="*/ 2858 w 7867"/>
                  <a:gd name="T43" fmla="*/ 7469 h 8798"/>
                  <a:gd name="T44" fmla="*/ 3001 w 7867"/>
                  <a:gd name="T45" fmla="*/ 6437 h 8798"/>
                  <a:gd name="T46" fmla="*/ 2648 w 7867"/>
                  <a:gd name="T47" fmla="*/ 6294 h 8798"/>
                  <a:gd name="T48" fmla="*/ 1939 w 7867"/>
                  <a:gd name="T49" fmla="*/ 5799 h 8798"/>
                  <a:gd name="T50" fmla="*/ 1486 w 7867"/>
                  <a:gd name="T51" fmla="*/ 5713 h 8798"/>
                  <a:gd name="T52" fmla="*/ 1459 w 7867"/>
                  <a:gd name="T53" fmla="*/ 5035 h 8798"/>
                  <a:gd name="T54" fmla="*/ 1302 w 7867"/>
                  <a:gd name="T55" fmla="*/ 4865 h 8798"/>
                  <a:gd name="T56" fmla="*/ 1020 w 7867"/>
                  <a:gd name="T57" fmla="*/ 4329 h 8798"/>
                  <a:gd name="T58" fmla="*/ 285 w 7867"/>
                  <a:gd name="T59" fmla="*/ 3579 h 8798"/>
                  <a:gd name="T60" fmla="*/ 723 w 7867"/>
                  <a:gd name="T61" fmla="*/ 3351 h 8798"/>
                  <a:gd name="T62" fmla="*/ 1275 w 7867"/>
                  <a:gd name="T63" fmla="*/ 3579 h 8798"/>
                  <a:gd name="T64" fmla="*/ 1684 w 7867"/>
                  <a:gd name="T65" fmla="*/ 3522 h 8798"/>
                  <a:gd name="T66" fmla="*/ 1613 w 7867"/>
                  <a:gd name="T67" fmla="*/ 3395 h 8798"/>
                  <a:gd name="T68" fmla="*/ 1020 w 7867"/>
                  <a:gd name="T69" fmla="*/ 2983 h 8798"/>
                  <a:gd name="T70" fmla="*/ 1429 w 7867"/>
                  <a:gd name="T71" fmla="*/ 2532 h 8798"/>
                  <a:gd name="T72" fmla="*/ 1868 w 7867"/>
                  <a:gd name="T73" fmla="*/ 2135 h 8798"/>
                  <a:gd name="T74" fmla="*/ 2787 w 7867"/>
                  <a:gd name="T75" fmla="*/ 2007 h 8798"/>
                  <a:gd name="T76" fmla="*/ 3028 w 7867"/>
                  <a:gd name="T77" fmla="*/ 1782 h 8798"/>
                  <a:gd name="T78" fmla="*/ 3184 w 7867"/>
                  <a:gd name="T79" fmla="*/ 1681 h 8798"/>
                  <a:gd name="T80" fmla="*/ 3368 w 7867"/>
                  <a:gd name="T81" fmla="*/ 1752 h 8798"/>
                  <a:gd name="T82" fmla="*/ 3510 w 7867"/>
                  <a:gd name="T83" fmla="*/ 1272 h 8798"/>
                  <a:gd name="T84" fmla="*/ 3481 w 7867"/>
                  <a:gd name="T85" fmla="*/ 1130 h 8798"/>
                  <a:gd name="T86" fmla="*/ 3226 w 7867"/>
                  <a:gd name="T87" fmla="*/ 946 h 8798"/>
                  <a:gd name="T88" fmla="*/ 3395 w 7867"/>
                  <a:gd name="T89" fmla="*/ 522 h 8798"/>
                  <a:gd name="T90" fmla="*/ 3552 w 7867"/>
                  <a:gd name="T91" fmla="*/ 564 h 8798"/>
                  <a:gd name="T92" fmla="*/ 4783 w 7867"/>
                  <a:gd name="T93" fmla="*/ 296 h 8798"/>
                  <a:gd name="T94" fmla="*/ 6028 w 7867"/>
                  <a:gd name="T95" fmla="*/ 309 h 8798"/>
                  <a:gd name="T96" fmla="*/ 6749 w 7867"/>
                  <a:gd name="T97" fmla="*/ 309 h 8798"/>
                  <a:gd name="T98" fmla="*/ 7202 w 7867"/>
                  <a:gd name="T99" fmla="*/ 649 h 8798"/>
                  <a:gd name="T100" fmla="*/ 7484 w 7867"/>
                  <a:gd name="T101" fmla="*/ 720 h 87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7867" h="8798">
                    <a:moveTo>
                      <a:pt x="3395" y="1527"/>
                    </a:moveTo>
                    <a:lnTo>
                      <a:pt x="3395" y="1527"/>
                    </a:lnTo>
                    <a:cubicBezTo>
                      <a:pt x="3395" y="1512"/>
                      <a:pt x="3395" y="1485"/>
                      <a:pt x="3395" y="1470"/>
                    </a:cubicBezTo>
                    <a:lnTo>
                      <a:pt x="3383" y="1470"/>
                    </a:lnTo>
                    <a:cubicBezTo>
                      <a:pt x="3383" y="1456"/>
                      <a:pt x="3354" y="1456"/>
                      <a:pt x="3339" y="1456"/>
                    </a:cubicBezTo>
                    <a:cubicBezTo>
                      <a:pt x="3312" y="1441"/>
                      <a:pt x="3282" y="1470"/>
                      <a:pt x="3268" y="1497"/>
                    </a:cubicBezTo>
                    <a:cubicBezTo>
                      <a:pt x="3255" y="1512"/>
                      <a:pt x="3268" y="1542"/>
                      <a:pt x="3297" y="1542"/>
                    </a:cubicBezTo>
                    <a:cubicBezTo>
                      <a:pt x="3297" y="1542"/>
                      <a:pt x="3327" y="1598"/>
                      <a:pt x="3339" y="1598"/>
                    </a:cubicBezTo>
                    <a:cubicBezTo>
                      <a:pt x="3383" y="1625"/>
                      <a:pt x="3383" y="1610"/>
                      <a:pt x="3410" y="1569"/>
                    </a:cubicBezTo>
                    <a:cubicBezTo>
                      <a:pt x="3395" y="1527"/>
                      <a:pt x="3395" y="1527"/>
                      <a:pt x="3395" y="1527"/>
                    </a:cubicBezTo>
                    <a:close/>
                    <a:moveTo>
                      <a:pt x="836" y="2814"/>
                    </a:moveTo>
                    <a:lnTo>
                      <a:pt x="836" y="2814"/>
                    </a:lnTo>
                    <a:cubicBezTo>
                      <a:pt x="821" y="2814"/>
                      <a:pt x="807" y="2799"/>
                      <a:pt x="792" y="2814"/>
                    </a:cubicBezTo>
                    <a:cubicBezTo>
                      <a:pt x="780" y="2828"/>
                      <a:pt x="780" y="2843"/>
                      <a:pt x="780" y="2855"/>
                    </a:cubicBezTo>
                    <a:cubicBezTo>
                      <a:pt x="792" y="2870"/>
                      <a:pt x="807" y="2900"/>
                      <a:pt x="821" y="2900"/>
                    </a:cubicBezTo>
                    <a:cubicBezTo>
                      <a:pt x="848" y="2900"/>
                      <a:pt x="878" y="2870"/>
                      <a:pt x="863" y="2855"/>
                    </a:cubicBezTo>
                    <a:cubicBezTo>
                      <a:pt x="836" y="2814"/>
                      <a:pt x="836" y="2814"/>
                      <a:pt x="836" y="2814"/>
                    </a:cubicBezTo>
                    <a:close/>
                    <a:moveTo>
                      <a:pt x="723" y="3027"/>
                    </a:moveTo>
                    <a:lnTo>
                      <a:pt x="723" y="3027"/>
                    </a:lnTo>
                    <a:cubicBezTo>
                      <a:pt x="709" y="3012"/>
                      <a:pt x="709" y="2968"/>
                      <a:pt x="679" y="2968"/>
                    </a:cubicBezTo>
                    <a:cubicBezTo>
                      <a:pt x="664" y="2968"/>
                      <a:pt x="664" y="2983"/>
                      <a:pt x="664" y="2998"/>
                    </a:cubicBezTo>
                    <a:cubicBezTo>
                      <a:pt x="652" y="3012"/>
                      <a:pt x="637" y="3054"/>
                      <a:pt x="652" y="3069"/>
                    </a:cubicBezTo>
                    <a:cubicBezTo>
                      <a:pt x="664" y="3098"/>
                      <a:pt x="679" y="3125"/>
                      <a:pt x="709" y="3098"/>
                    </a:cubicBezTo>
                    <a:cubicBezTo>
                      <a:pt x="723" y="3027"/>
                      <a:pt x="723" y="3027"/>
                      <a:pt x="723" y="3027"/>
                    </a:cubicBezTo>
                    <a:close/>
                    <a:moveTo>
                      <a:pt x="285" y="2757"/>
                    </a:moveTo>
                    <a:lnTo>
                      <a:pt x="285" y="2757"/>
                    </a:lnTo>
                    <a:lnTo>
                      <a:pt x="285" y="2757"/>
                    </a:lnTo>
                    <a:cubicBezTo>
                      <a:pt x="285" y="2728"/>
                      <a:pt x="255" y="2645"/>
                      <a:pt x="285" y="2630"/>
                    </a:cubicBezTo>
                    <a:cubicBezTo>
                      <a:pt x="285" y="2630"/>
                      <a:pt x="341" y="2615"/>
                      <a:pt x="341" y="2603"/>
                    </a:cubicBezTo>
                    <a:cubicBezTo>
                      <a:pt x="468" y="2544"/>
                      <a:pt x="439" y="2784"/>
                      <a:pt x="383" y="2814"/>
                    </a:cubicBezTo>
                    <a:cubicBezTo>
                      <a:pt x="368" y="2828"/>
                      <a:pt x="341" y="2885"/>
                      <a:pt x="326" y="2900"/>
                    </a:cubicBezTo>
                    <a:cubicBezTo>
                      <a:pt x="297" y="2983"/>
                      <a:pt x="285" y="2870"/>
                      <a:pt x="270" y="2855"/>
                    </a:cubicBezTo>
                    <a:cubicBezTo>
                      <a:pt x="285" y="2757"/>
                      <a:pt x="285" y="2757"/>
                      <a:pt x="285" y="2757"/>
                    </a:cubicBezTo>
                    <a:close/>
                    <a:moveTo>
                      <a:pt x="42" y="2926"/>
                    </a:moveTo>
                    <a:lnTo>
                      <a:pt x="42" y="2926"/>
                    </a:lnTo>
                    <a:cubicBezTo>
                      <a:pt x="0" y="2870"/>
                      <a:pt x="0" y="2814"/>
                      <a:pt x="0" y="2757"/>
                    </a:cubicBezTo>
                    <a:cubicBezTo>
                      <a:pt x="0" y="2728"/>
                      <a:pt x="0" y="2701"/>
                      <a:pt x="15" y="2672"/>
                    </a:cubicBezTo>
                    <a:cubicBezTo>
                      <a:pt x="57" y="2588"/>
                      <a:pt x="71" y="2645"/>
                      <a:pt x="57" y="2701"/>
                    </a:cubicBezTo>
                    <a:cubicBezTo>
                      <a:pt x="42" y="2772"/>
                      <a:pt x="42" y="2885"/>
                      <a:pt x="101" y="2941"/>
                    </a:cubicBezTo>
                    <a:cubicBezTo>
                      <a:pt x="128" y="2968"/>
                      <a:pt x="142" y="2968"/>
                      <a:pt x="169" y="2956"/>
                    </a:cubicBezTo>
                    <a:cubicBezTo>
                      <a:pt x="213" y="2956"/>
                      <a:pt x="240" y="2956"/>
                      <a:pt x="240" y="2998"/>
                    </a:cubicBezTo>
                    <a:cubicBezTo>
                      <a:pt x="184" y="3012"/>
                      <a:pt x="169" y="3027"/>
                      <a:pt x="101" y="2983"/>
                    </a:cubicBezTo>
                    <a:cubicBezTo>
                      <a:pt x="42" y="2926"/>
                      <a:pt x="42" y="2926"/>
                      <a:pt x="42" y="2926"/>
                    </a:cubicBezTo>
                    <a:close/>
                    <a:moveTo>
                      <a:pt x="7866" y="2446"/>
                    </a:moveTo>
                    <a:lnTo>
                      <a:pt x="7866" y="2446"/>
                    </a:lnTo>
                    <a:cubicBezTo>
                      <a:pt x="7033" y="2716"/>
                      <a:pt x="7033" y="2716"/>
                      <a:pt x="7033" y="2716"/>
                    </a:cubicBezTo>
                    <a:cubicBezTo>
                      <a:pt x="7033" y="8657"/>
                      <a:pt x="7033" y="8657"/>
                      <a:pt x="7033" y="8657"/>
                    </a:cubicBezTo>
                    <a:lnTo>
                      <a:pt x="7033" y="8657"/>
                    </a:lnTo>
                    <a:cubicBezTo>
                      <a:pt x="6989" y="8657"/>
                      <a:pt x="6920" y="8657"/>
                      <a:pt x="6876" y="8670"/>
                    </a:cubicBezTo>
                    <a:cubicBezTo>
                      <a:pt x="6820" y="8699"/>
                      <a:pt x="6834" y="8714"/>
                      <a:pt x="6763" y="8699"/>
                    </a:cubicBezTo>
                    <a:cubicBezTo>
                      <a:pt x="6707" y="8684"/>
                      <a:pt x="6579" y="8797"/>
                      <a:pt x="6552" y="8728"/>
                    </a:cubicBezTo>
                    <a:cubicBezTo>
                      <a:pt x="6523" y="8728"/>
                      <a:pt x="6481" y="8728"/>
                      <a:pt x="6481" y="8770"/>
                    </a:cubicBezTo>
                    <a:cubicBezTo>
                      <a:pt x="6410" y="8770"/>
                      <a:pt x="6310" y="8643"/>
                      <a:pt x="6268" y="8586"/>
                    </a:cubicBezTo>
                    <a:cubicBezTo>
                      <a:pt x="5972" y="8133"/>
                      <a:pt x="5972" y="8133"/>
                      <a:pt x="5972" y="8133"/>
                    </a:cubicBezTo>
                    <a:cubicBezTo>
                      <a:pt x="5802" y="7866"/>
                      <a:pt x="5802" y="7866"/>
                      <a:pt x="5802" y="7866"/>
                    </a:cubicBezTo>
                    <a:cubicBezTo>
                      <a:pt x="5802" y="7723"/>
                      <a:pt x="5802" y="7723"/>
                      <a:pt x="5802" y="7723"/>
                    </a:cubicBezTo>
                    <a:cubicBezTo>
                      <a:pt x="5631" y="7525"/>
                      <a:pt x="5631" y="7525"/>
                      <a:pt x="5631" y="7525"/>
                    </a:cubicBezTo>
                    <a:cubicBezTo>
                      <a:pt x="4952" y="6988"/>
                      <a:pt x="4952" y="6988"/>
                      <a:pt x="4952" y="6988"/>
                    </a:cubicBezTo>
                    <a:cubicBezTo>
                      <a:pt x="4246" y="7101"/>
                      <a:pt x="4246" y="7101"/>
                      <a:pt x="4246" y="7101"/>
                    </a:cubicBezTo>
                    <a:cubicBezTo>
                      <a:pt x="3481" y="7397"/>
                      <a:pt x="3481" y="7397"/>
                      <a:pt x="3481" y="7397"/>
                    </a:cubicBezTo>
                    <a:cubicBezTo>
                      <a:pt x="2873" y="7949"/>
                      <a:pt x="2873" y="7949"/>
                      <a:pt x="2873" y="7949"/>
                    </a:cubicBezTo>
                    <a:lnTo>
                      <a:pt x="2873" y="7949"/>
                    </a:lnTo>
                    <a:cubicBezTo>
                      <a:pt x="2858" y="7922"/>
                      <a:pt x="2900" y="7893"/>
                      <a:pt x="2900" y="7836"/>
                    </a:cubicBezTo>
                    <a:cubicBezTo>
                      <a:pt x="2915" y="7836"/>
                      <a:pt x="2915" y="7723"/>
                      <a:pt x="2915" y="7694"/>
                    </a:cubicBezTo>
                    <a:cubicBezTo>
                      <a:pt x="2929" y="7611"/>
                      <a:pt x="2888" y="7623"/>
                      <a:pt x="2858" y="7567"/>
                    </a:cubicBezTo>
                    <a:cubicBezTo>
                      <a:pt x="2844" y="7525"/>
                      <a:pt x="2873" y="7496"/>
                      <a:pt x="2858" y="7469"/>
                    </a:cubicBezTo>
                    <a:cubicBezTo>
                      <a:pt x="2802" y="7326"/>
                      <a:pt x="2888" y="7228"/>
                      <a:pt x="3001" y="7143"/>
                    </a:cubicBezTo>
                    <a:cubicBezTo>
                      <a:pt x="3057" y="7003"/>
                      <a:pt x="3140" y="6902"/>
                      <a:pt x="3140" y="6748"/>
                    </a:cubicBezTo>
                    <a:cubicBezTo>
                      <a:pt x="3140" y="6633"/>
                      <a:pt x="3001" y="6520"/>
                      <a:pt x="3001" y="6437"/>
                    </a:cubicBezTo>
                    <a:cubicBezTo>
                      <a:pt x="3057" y="6464"/>
                      <a:pt x="3226" y="6817"/>
                      <a:pt x="3226" y="6576"/>
                    </a:cubicBezTo>
                    <a:cubicBezTo>
                      <a:pt x="3226" y="6392"/>
                      <a:pt x="3099" y="6380"/>
                      <a:pt x="2986" y="6265"/>
                    </a:cubicBezTo>
                    <a:cubicBezTo>
                      <a:pt x="2888" y="6182"/>
                      <a:pt x="2660" y="6309"/>
                      <a:pt x="2648" y="6294"/>
                    </a:cubicBezTo>
                    <a:cubicBezTo>
                      <a:pt x="2491" y="6081"/>
                      <a:pt x="2449" y="6238"/>
                      <a:pt x="2236" y="6238"/>
                    </a:cubicBezTo>
                    <a:cubicBezTo>
                      <a:pt x="2194" y="6238"/>
                      <a:pt x="2165" y="6111"/>
                      <a:pt x="2138" y="6054"/>
                    </a:cubicBezTo>
                    <a:cubicBezTo>
                      <a:pt x="2094" y="6010"/>
                      <a:pt x="1939" y="5841"/>
                      <a:pt x="1939" y="5799"/>
                    </a:cubicBezTo>
                    <a:cubicBezTo>
                      <a:pt x="1939" y="5770"/>
                      <a:pt x="1954" y="5743"/>
                      <a:pt x="1954" y="5713"/>
                    </a:cubicBezTo>
                    <a:cubicBezTo>
                      <a:pt x="1883" y="5701"/>
                      <a:pt x="1797" y="5701"/>
                      <a:pt x="1711" y="5713"/>
                    </a:cubicBezTo>
                    <a:cubicBezTo>
                      <a:pt x="1669" y="5713"/>
                      <a:pt x="1486" y="5785"/>
                      <a:pt x="1486" y="5713"/>
                    </a:cubicBezTo>
                    <a:cubicBezTo>
                      <a:pt x="1486" y="5701"/>
                      <a:pt x="1500" y="5601"/>
                      <a:pt x="1515" y="5586"/>
                    </a:cubicBezTo>
                    <a:cubicBezTo>
                      <a:pt x="1500" y="5559"/>
                      <a:pt x="1557" y="5218"/>
                      <a:pt x="1571" y="5218"/>
                    </a:cubicBezTo>
                    <a:cubicBezTo>
                      <a:pt x="1571" y="5162"/>
                      <a:pt x="1471" y="5079"/>
                      <a:pt x="1459" y="5035"/>
                    </a:cubicBezTo>
                    <a:lnTo>
                      <a:pt x="1459" y="5035"/>
                    </a:lnTo>
                    <a:cubicBezTo>
                      <a:pt x="1459" y="5035"/>
                      <a:pt x="1373" y="5020"/>
                      <a:pt x="1358" y="5008"/>
                    </a:cubicBezTo>
                    <a:cubicBezTo>
                      <a:pt x="1331" y="4993"/>
                      <a:pt x="1317" y="4892"/>
                      <a:pt x="1302" y="4865"/>
                    </a:cubicBezTo>
                    <a:cubicBezTo>
                      <a:pt x="1231" y="4753"/>
                      <a:pt x="1204" y="4652"/>
                      <a:pt x="1160" y="4525"/>
                    </a:cubicBezTo>
                    <a:cubicBezTo>
                      <a:pt x="1160" y="4468"/>
                      <a:pt x="1160" y="4427"/>
                      <a:pt x="1118" y="4385"/>
                    </a:cubicBezTo>
                    <a:cubicBezTo>
                      <a:pt x="1091" y="4341"/>
                      <a:pt x="1032" y="4356"/>
                      <a:pt x="1020" y="4329"/>
                    </a:cubicBezTo>
                    <a:cubicBezTo>
                      <a:pt x="990" y="4243"/>
                      <a:pt x="1032" y="4145"/>
                      <a:pt x="976" y="4059"/>
                    </a:cubicBezTo>
                    <a:cubicBezTo>
                      <a:pt x="878" y="3875"/>
                      <a:pt x="637" y="3890"/>
                      <a:pt x="468" y="3846"/>
                    </a:cubicBezTo>
                    <a:cubicBezTo>
                      <a:pt x="285" y="3804"/>
                      <a:pt x="311" y="3748"/>
                      <a:pt x="285" y="3579"/>
                    </a:cubicBezTo>
                    <a:cubicBezTo>
                      <a:pt x="270" y="3549"/>
                      <a:pt x="270" y="3507"/>
                      <a:pt x="270" y="3466"/>
                    </a:cubicBezTo>
                    <a:cubicBezTo>
                      <a:pt x="341" y="3466"/>
                      <a:pt x="311" y="3282"/>
                      <a:pt x="454" y="3309"/>
                    </a:cubicBezTo>
                    <a:cubicBezTo>
                      <a:pt x="537" y="3338"/>
                      <a:pt x="637" y="3338"/>
                      <a:pt x="723" y="3351"/>
                    </a:cubicBezTo>
                    <a:cubicBezTo>
                      <a:pt x="821" y="3365"/>
                      <a:pt x="821" y="3380"/>
                      <a:pt x="907" y="3338"/>
                    </a:cubicBezTo>
                    <a:cubicBezTo>
                      <a:pt x="990" y="3294"/>
                      <a:pt x="1032" y="3407"/>
                      <a:pt x="1103" y="3436"/>
                    </a:cubicBezTo>
                    <a:cubicBezTo>
                      <a:pt x="1189" y="3478"/>
                      <a:pt x="1189" y="3534"/>
                      <a:pt x="1275" y="3579"/>
                    </a:cubicBezTo>
                    <a:cubicBezTo>
                      <a:pt x="1317" y="3549"/>
                      <a:pt x="1388" y="3579"/>
                      <a:pt x="1429" y="3549"/>
                    </a:cubicBezTo>
                    <a:cubicBezTo>
                      <a:pt x="1500" y="3507"/>
                      <a:pt x="1500" y="3466"/>
                      <a:pt x="1571" y="3493"/>
                    </a:cubicBezTo>
                    <a:cubicBezTo>
                      <a:pt x="1586" y="3564"/>
                      <a:pt x="1628" y="3522"/>
                      <a:pt x="1684" y="3522"/>
                    </a:cubicBezTo>
                    <a:lnTo>
                      <a:pt x="1684" y="3522"/>
                    </a:lnTo>
                    <a:cubicBezTo>
                      <a:pt x="1699" y="3549"/>
                      <a:pt x="1797" y="3549"/>
                      <a:pt x="1826" y="3534"/>
                    </a:cubicBezTo>
                    <a:cubicBezTo>
                      <a:pt x="1939" y="3478"/>
                      <a:pt x="1669" y="3395"/>
                      <a:pt x="1613" y="3395"/>
                    </a:cubicBezTo>
                    <a:cubicBezTo>
                      <a:pt x="1358" y="3422"/>
                      <a:pt x="1527" y="3181"/>
                      <a:pt x="1373" y="3125"/>
                    </a:cubicBezTo>
                    <a:cubicBezTo>
                      <a:pt x="1331" y="3110"/>
                      <a:pt x="1302" y="3125"/>
                      <a:pt x="1275" y="3083"/>
                    </a:cubicBezTo>
                    <a:cubicBezTo>
                      <a:pt x="1204" y="2983"/>
                      <a:pt x="1020" y="3069"/>
                      <a:pt x="1020" y="2983"/>
                    </a:cubicBezTo>
                    <a:lnTo>
                      <a:pt x="1020" y="2983"/>
                    </a:lnTo>
                    <a:cubicBezTo>
                      <a:pt x="1147" y="2983"/>
                      <a:pt x="1103" y="2814"/>
                      <a:pt x="1216" y="2728"/>
                    </a:cubicBezTo>
                    <a:cubicBezTo>
                      <a:pt x="1275" y="2701"/>
                      <a:pt x="1500" y="2603"/>
                      <a:pt x="1429" y="2532"/>
                    </a:cubicBezTo>
                    <a:cubicBezTo>
                      <a:pt x="1429" y="2390"/>
                      <a:pt x="1459" y="2375"/>
                      <a:pt x="1527" y="2277"/>
                    </a:cubicBezTo>
                    <a:cubicBezTo>
                      <a:pt x="1571" y="2233"/>
                      <a:pt x="1613" y="2176"/>
                      <a:pt x="1643" y="2120"/>
                    </a:cubicBezTo>
                    <a:cubicBezTo>
                      <a:pt x="1669" y="2093"/>
                      <a:pt x="1782" y="2164"/>
                      <a:pt x="1868" y="2135"/>
                    </a:cubicBezTo>
                    <a:cubicBezTo>
                      <a:pt x="1924" y="2120"/>
                      <a:pt x="2052" y="1951"/>
                      <a:pt x="2052" y="1951"/>
                    </a:cubicBezTo>
                    <a:cubicBezTo>
                      <a:pt x="2081" y="2007"/>
                      <a:pt x="2547" y="2078"/>
                      <a:pt x="2589" y="2037"/>
                    </a:cubicBezTo>
                    <a:cubicBezTo>
                      <a:pt x="2618" y="2064"/>
                      <a:pt x="2760" y="2007"/>
                      <a:pt x="2787" y="2007"/>
                    </a:cubicBezTo>
                    <a:cubicBezTo>
                      <a:pt x="2817" y="2022"/>
                      <a:pt x="2888" y="2037"/>
                      <a:pt x="2915" y="2037"/>
                    </a:cubicBezTo>
                    <a:cubicBezTo>
                      <a:pt x="2956" y="2037"/>
                      <a:pt x="2915" y="1936"/>
                      <a:pt x="2900" y="1921"/>
                    </a:cubicBezTo>
                    <a:cubicBezTo>
                      <a:pt x="2888" y="1880"/>
                      <a:pt x="3028" y="1823"/>
                      <a:pt x="3028" y="1782"/>
                    </a:cubicBezTo>
                    <a:cubicBezTo>
                      <a:pt x="3057" y="1796"/>
                      <a:pt x="3113" y="1838"/>
                      <a:pt x="3128" y="1853"/>
                    </a:cubicBezTo>
                    <a:cubicBezTo>
                      <a:pt x="3155" y="1895"/>
                      <a:pt x="3155" y="1936"/>
                      <a:pt x="3211" y="1921"/>
                    </a:cubicBezTo>
                    <a:cubicBezTo>
                      <a:pt x="3255" y="1909"/>
                      <a:pt x="3184" y="1711"/>
                      <a:pt x="3184" y="1681"/>
                    </a:cubicBezTo>
                    <a:cubicBezTo>
                      <a:pt x="3184" y="1667"/>
                      <a:pt x="3282" y="1610"/>
                      <a:pt x="3282" y="1610"/>
                    </a:cubicBezTo>
                    <a:cubicBezTo>
                      <a:pt x="3297" y="1610"/>
                      <a:pt x="3327" y="1640"/>
                      <a:pt x="3339" y="1640"/>
                    </a:cubicBezTo>
                    <a:cubicBezTo>
                      <a:pt x="3354" y="1681"/>
                      <a:pt x="3339" y="1711"/>
                      <a:pt x="3368" y="1752"/>
                    </a:cubicBezTo>
                    <a:cubicBezTo>
                      <a:pt x="3395" y="1782"/>
                      <a:pt x="3452" y="1752"/>
                      <a:pt x="3466" y="1725"/>
                    </a:cubicBezTo>
                    <a:cubicBezTo>
                      <a:pt x="3510" y="1640"/>
                      <a:pt x="3410" y="1497"/>
                      <a:pt x="3466" y="1426"/>
                    </a:cubicBezTo>
                    <a:cubicBezTo>
                      <a:pt x="3496" y="1328"/>
                      <a:pt x="3567" y="1399"/>
                      <a:pt x="3510" y="1272"/>
                    </a:cubicBezTo>
                    <a:cubicBezTo>
                      <a:pt x="3510" y="1257"/>
                      <a:pt x="3594" y="1073"/>
                      <a:pt x="3608" y="1059"/>
                    </a:cubicBezTo>
                    <a:cubicBezTo>
                      <a:pt x="3635" y="1032"/>
                      <a:pt x="3510" y="1046"/>
                      <a:pt x="3510" y="1046"/>
                    </a:cubicBezTo>
                    <a:cubicBezTo>
                      <a:pt x="3466" y="1073"/>
                      <a:pt x="3496" y="1073"/>
                      <a:pt x="3481" y="1130"/>
                    </a:cubicBezTo>
                    <a:cubicBezTo>
                      <a:pt x="3481" y="1159"/>
                      <a:pt x="3410" y="1117"/>
                      <a:pt x="3395" y="1117"/>
                    </a:cubicBezTo>
                    <a:cubicBezTo>
                      <a:pt x="3268" y="1046"/>
                      <a:pt x="3268" y="1103"/>
                      <a:pt x="3140" y="1103"/>
                    </a:cubicBezTo>
                    <a:cubicBezTo>
                      <a:pt x="3113" y="988"/>
                      <a:pt x="3197" y="1017"/>
                      <a:pt x="3226" y="946"/>
                    </a:cubicBezTo>
                    <a:cubicBezTo>
                      <a:pt x="3255" y="875"/>
                      <a:pt x="3327" y="904"/>
                      <a:pt x="3312" y="818"/>
                    </a:cubicBezTo>
                    <a:cubicBezTo>
                      <a:pt x="3297" y="791"/>
                      <a:pt x="3312" y="720"/>
                      <a:pt x="3312" y="691"/>
                    </a:cubicBezTo>
                    <a:cubicBezTo>
                      <a:pt x="3327" y="608"/>
                      <a:pt x="3368" y="593"/>
                      <a:pt x="3395" y="522"/>
                    </a:cubicBezTo>
                    <a:cubicBezTo>
                      <a:pt x="3410" y="522"/>
                      <a:pt x="3410" y="507"/>
                      <a:pt x="3425" y="495"/>
                    </a:cubicBezTo>
                    <a:lnTo>
                      <a:pt x="3425" y="495"/>
                    </a:lnTo>
                    <a:cubicBezTo>
                      <a:pt x="3552" y="564"/>
                      <a:pt x="3552" y="564"/>
                      <a:pt x="3552" y="564"/>
                    </a:cubicBezTo>
                    <a:cubicBezTo>
                      <a:pt x="3792" y="537"/>
                      <a:pt x="3792" y="537"/>
                      <a:pt x="3792" y="537"/>
                    </a:cubicBezTo>
                    <a:cubicBezTo>
                      <a:pt x="4501" y="578"/>
                      <a:pt x="4501" y="578"/>
                      <a:pt x="4501" y="578"/>
                    </a:cubicBezTo>
                    <a:cubicBezTo>
                      <a:pt x="4599" y="495"/>
                      <a:pt x="4655" y="338"/>
                      <a:pt x="4783" y="296"/>
                    </a:cubicBezTo>
                    <a:cubicBezTo>
                      <a:pt x="4937" y="252"/>
                      <a:pt x="5023" y="380"/>
                      <a:pt x="5150" y="380"/>
                    </a:cubicBezTo>
                    <a:cubicBezTo>
                      <a:pt x="5349" y="380"/>
                      <a:pt x="5589" y="338"/>
                      <a:pt x="5773" y="282"/>
                    </a:cubicBezTo>
                    <a:cubicBezTo>
                      <a:pt x="5873" y="267"/>
                      <a:pt x="5942" y="309"/>
                      <a:pt x="6028" y="309"/>
                    </a:cubicBezTo>
                    <a:cubicBezTo>
                      <a:pt x="6114" y="309"/>
                      <a:pt x="6155" y="240"/>
                      <a:pt x="6212" y="184"/>
                    </a:cubicBezTo>
                    <a:cubicBezTo>
                      <a:pt x="6239" y="139"/>
                      <a:pt x="6381" y="0"/>
                      <a:pt x="6410" y="83"/>
                    </a:cubicBezTo>
                    <a:cubicBezTo>
                      <a:pt x="6481" y="267"/>
                      <a:pt x="6677" y="169"/>
                      <a:pt x="6749" y="309"/>
                    </a:cubicBezTo>
                    <a:cubicBezTo>
                      <a:pt x="6805" y="439"/>
                      <a:pt x="6749" y="507"/>
                      <a:pt x="6920" y="507"/>
                    </a:cubicBezTo>
                    <a:cubicBezTo>
                      <a:pt x="7018" y="507"/>
                      <a:pt x="7033" y="551"/>
                      <a:pt x="7075" y="620"/>
                    </a:cubicBezTo>
                    <a:cubicBezTo>
                      <a:pt x="7116" y="664"/>
                      <a:pt x="7160" y="620"/>
                      <a:pt x="7202" y="649"/>
                    </a:cubicBezTo>
                    <a:cubicBezTo>
                      <a:pt x="7258" y="691"/>
                      <a:pt x="7187" y="747"/>
                      <a:pt x="7330" y="735"/>
                    </a:cubicBezTo>
                    <a:cubicBezTo>
                      <a:pt x="7415" y="735"/>
                      <a:pt x="7401" y="720"/>
                      <a:pt x="7484" y="720"/>
                    </a:cubicBezTo>
                    <a:lnTo>
                      <a:pt x="7484" y="720"/>
                    </a:lnTo>
                    <a:cubicBezTo>
                      <a:pt x="7656" y="1002"/>
                      <a:pt x="7656" y="1002"/>
                      <a:pt x="7656" y="1002"/>
                    </a:cubicBezTo>
                    <a:cubicBezTo>
                      <a:pt x="7866" y="2446"/>
                      <a:pt x="7866" y="2446"/>
                      <a:pt x="7866" y="2446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28575" cap="flat" cmpd="sng">
                <a:solidFill>
                  <a:schemeClr val="bg1"/>
                </a:solidFill>
                <a:bevel/>
                <a:headEnd/>
                <a:tailEnd/>
              </a:ln>
              <a:effectLst/>
              <a:extLst/>
            </p:spPr>
            <p:txBody>
              <a:bodyPr wrap="none" lIns="45720" tIns="22860" rIns="45720" bIns="22860" anchor="ctr"/>
              <a:lstStyle/>
              <a:p>
                <a:endParaRPr lang="en-US" sz="1400" dirty="0">
                  <a:latin typeface="Lato Light" charset="0"/>
                </a:endParaRPr>
              </a:p>
            </p:txBody>
          </p:sp>
          <p:sp>
            <p:nvSpPr>
              <p:cNvPr id="31" name="Freeform 7"/>
              <p:cNvSpPr>
                <a:spLocks noChangeArrowheads="1"/>
              </p:cNvSpPr>
              <p:nvPr/>
            </p:nvSpPr>
            <p:spPr bwMode="auto">
              <a:xfrm>
                <a:off x="6408419" y="4715896"/>
                <a:ext cx="1970684" cy="1793468"/>
              </a:xfrm>
              <a:custGeom>
                <a:avLst/>
                <a:gdLst>
                  <a:gd name="T0" fmla="*/ 961 w 11052"/>
                  <a:gd name="T1" fmla="*/ 2800 h 9169"/>
                  <a:gd name="T2" fmla="*/ 1245 w 11052"/>
                  <a:gd name="T3" fmla="*/ 3069 h 9169"/>
                  <a:gd name="T4" fmla="*/ 1910 w 11052"/>
                  <a:gd name="T5" fmla="*/ 3111 h 9169"/>
                  <a:gd name="T6" fmla="*/ 2123 w 11052"/>
                  <a:gd name="T7" fmla="*/ 3324 h 9169"/>
                  <a:gd name="T8" fmla="*/ 1951 w 11052"/>
                  <a:gd name="T9" fmla="*/ 3238 h 9169"/>
                  <a:gd name="T10" fmla="*/ 1812 w 11052"/>
                  <a:gd name="T11" fmla="*/ 3380 h 9169"/>
                  <a:gd name="T12" fmla="*/ 1160 w 11052"/>
                  <a:gd name="T13" fmla="*/ 3253 h 9169"/>
                  <a:gd name="T14" fmla="*/ 2900 w 11052"/>
                  <a:gd name="T15" fmla="*/ 2871 h 9169"/>
                  <a:gd name="T16" fmla="*/ 2986 w 11052"/>
                  <a:gd name="T17" fmla="*/ 2589 h 9169"/>
                  <a:gd name="T18" fmla="*/ 3170 w 11052"/>
                  <a:gd name="T19" fmla="*/ 2150 h 9169"/>
                  <a:gd name="T20" fmla="*/ 2434 w 11052"/>
                  <a:gd name="T21" fmla="*/ 2304 h 9169"/>
                  <a:gd name="T22" fmla="*/ 2194 w 11052"/>
                  <a:gd name="T23" fmla="*/ 2064 h 9169"/>
                  <a:gd name="T24" fmla="*/ 2265 w 11052"/>
                  <a:gd name="T25" fmla="*/ 2277 h 9169"/>
                  <a:gd name="T26" fmla="*/ 2022 w 11052"/>
                  <a:gd name="T27" fmla="*/ 2334 h 9169"/>
                  <a:gd name="T28" fmla="*/ 1812 w 11052"/>
                  <a:gd name="T29" fmla="*/ 2079 h 9169"/>
                  <a:gd name="T30" fmla="*/ 1883 w 11052"/>
                  <a:gd name="T31" fmla="*/ 2589 h 9169"/>
                  <a:gd name="T32" fmla="*/ 2405 w 11052"/>
                  <a:gd name="T33" fmla="*/ 3084 h 9169"/>
                  <a:gd name="T34" fmla="*/ 0 w 11052"/>
                  <a:gd name="T35" fmla="*/ 3550 h 9169"/>
                  <a:gd name="T36" fmla="*/ 86 w 11052"/>
                  <a:gd name="T37" fmla="*/ 3523 h 9169"/>
                  <a:gd name="T38" fmla="*/ 623 w 11052"/>
                  <a:gd name="T39" fmla="*/ 3324 h 9169"/>
                  <a:gd name="T40" fmla="*/ 410 w 11052"/>
                  <a:gd name="T41" fmla="*/ 3677 h 9169"/>
                  <a:gd name="T42" fmla="*/ 71 w 11052"/>
                  <a:gd name="T43" fmla="*/ 4059 h 9169"/>
                  <a:gd name="T44" fmla="*/ 892 w 11052"/>
                  <a:gd name="T45" fmla="*/ 4584 h 9169"/>
                  <a:gd name="T46" fmla="*/ 1005 w 11052"/>
                  <a:gd name="T47" fmla="*/ 4300 h 9169"/>
                  <a:gd name="T48" fmla="*/ 807 w 11052"/>
                  <a:gd name="T49" fmla="*/ 4074 h 9169"/>
                  <a:gd name="T50" fmla="*/ 709 w 11052"/>
                  <a:gd name="T51" fmla="*/ 3961 h 9169"/>
                  <a:gd name="T52" fmla="*/ 1062 w 11052"/>
                  <a:gd name="T53" fmla="*/ 3733 h 9169"/>
                  <a:gd name="T54" fmla="*/ 1429 w 11052"/>
                  <a:gd name="T55" fmla="*/ 4187 h 9169"/>
                  <a:gd name="T56" fmla="*/ 1486 w 11052"/>
                  <a:gd name="T57" fmla="*/ 4952 h 9169"/>
                  <a:gd name="T58" fmla="*/ 2844 w 11052"/>
                  <a:gd name="T59" fmla="*/ 6239 h 9169"/>
                  <a:gd name="T60" fmla="*/ 5349 w 11052"/>
                  <a:gd name="T61" fmla="*/ 7158 h 9169"/>
                  <a:gd name="T62" fmla="*/ 7288 w 11052"/>
                  <a:gd name="T63" fmla="*/ 7030 h 9169"/>
                  <a:gd name="T64" fmla="*/ 8009 w 11052"/>
                  <a:gd name="T65" fmla="*/ 7709 h 9169"/>
                  <a:gd name="T66" fmla="*/ 8658 w 11052"/>
                  <a:gd name="T67" fmla="*/ 9168 h 9169"/>
                  <a:gd name="T68" fmla="*/ 10499 w 11052"/>
                  <a:gd name="T69" fmla="*/ 7597 h 9169"/>
                  <a:gd name="T70" fmla="*/ 10710 w 11052"/>
                  <a:gd name="T71" fmla="*/ 7072 h 9169"/>
                  <a:gd name="T72" fmla="*/ 10796 w 11052"/>
                  <a:gd name="T73" fmla="*/ 6366 h 9169"/>
                  <a:gd name="T74" fmla="*/ 10342 w 11052"/>
                  <a:gd name="T75" fmla="*/ 4697 h 9169"/>
                  <a:gd name="T76" fmla="*/ 10004 w 11052"/>
                  <a:gd name="T77" fmla="*/ 3650 h 9169"/>
                  <a:gd name="T78" fmla="*/ 9876 w 11052"/>
                  <a:gd name="T79" fmla="*/ 3238 h 9169"/>
                  <a:gd name="T80" fmla="*/ 9847 w 11052"/>
                  <a:gd name="T81" fmla="*/ 3054 h 9169"/>
                  <a:gd name="T82" fmla="*/ 7656 w 11052"/>
                  <a:gd name="T83" fmla="*/ 2559 h 9169"/>
                  <a:gd name="T84" fmla="*/ 6479 w 11052"/>
                  <a:gd name="T85" fmla="*/ 1937 h 9169"/>
                  <a:gd name="T86" fmla="*/ 5503 w 11052"/>
                  <a:gd name="T87" fmla="*/ 1613 h 9169"/>
                  <a:gd name="T88" fmla="*/ 4868 w 11052"/>
                  <a:gd name="T89" fmla="*/ 1231 h 9169"/>
                  <a:gd name="T90" fmla="*/ 4599 w 11052"/>
                  <a:gd name="T91" fmla="*/ 834 h 9169"/>
                  <a:gd name="T92" fmla="*/ 4033 w 11052"/>
                  <a:gd name="T93" fmla="*/ 226 h 9169"/>
                  <a:gd name="T94" fmla="*/ 2675 w 11052"/>
                  <a:gd name="T95" fmla="*/ 1103 h 9169"/>
                  <a:gd name="T96" fmla="*/ 1966 w 11052"/>
                  <a:gd name="T97" fmla="*/ 1640 h 9169"/>
                  <a:gd name="T98" fmla="*/ 454 w 11052"/>
                  <a:gd name="T99" fmla="*/ 3211 h 9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1052" h="9169">
                    <a:moveTo>
                      <a:pt x="1047" y="2927"/>
                    </a:moveTo>
                    <a:lnTo>
                      <a:pt x="1047" y="2927"/>
                    </a:lnTo>
                    <a:cubicBezTo>
                      <a:pt x="1005" y="2900"/>
                      <a:pt x="990" y="2844"/>
                      <a:pt x="961" y="2800"/>
                    </a:cubicBezTo>
                    <a:cubicBezTo>
                      <a:pt x="919" y="2731"/>
                      <a:pt x="949" y="2716"/>
                      <a:pt x="1005" y="2758"/>
                    </a:cubicBezTo>
                    <a:cubicBezTo>
                      <a:pt x="1103" y="2814"/>
                      <a:pt x="1189" y="2645"/>
                      <a:pt x="1260" y="2844"/>
                    </a:cubicBezTo>
                    <a:cubicBezTo>
                      <a:pt x="1287" y="2915"/>
                      <a:pt x="1316" y="3027"/>
                      <a:pt x="1245" y="3069"/>
                    </a:cubicBezTo>
                    <a:cubicBezTo>
                      <a:pt x="1204" y="3099"/>
                      <a:pt x="1204" y="3224"/>
                      <a:pt x="1245" y="3211"/>
                    </a:cubicBezTo>
                    <a:cubicBezTo>
                      <a:pt x="1316" y="3197"/>
                      <a:pt x="1400" y="3140"/>
                      <a:pt x="1471" y="3126"/>
                    </a:cubicBezTo>
                    <a:cubicBezTo>
                      <a:pt x="1613" y="3099"/>
                      <a:pt x="1782" y="3140"/>
                      <a:pt x="1910" y="3111"/>
                    </a:cubicBezTo>
                    <a:cubicBezTo>
                      <a:pt x="2022" y="3084"/>
                      <a:pt x="2052" y="3167"/>
                      <a:pt x="2123" y="3167"/>
                    </a:cubicBezTo>
                    <a:cubicBezTo>
                      <a:pt x="2179" y="3167"/>
                      <a:pt x="2277" y="3182"/>
                      <a:pt x="2307" y="3197"/>
                    </a:cubicBezTo>
                    <a:cubicBezTo>
                      <a:pt x="2363" y="3238"/>
                      <a:pt x="2138" y="3309"/>
                      <a:pt x="2123" y="3324"/>
                    </a:cubicBezTo>
                    <a:cubicBezTo>
                      <a:pt x="2108" y="3339"/>
                      <a:pt x="2037" y="3395"/>
                      <a:pt x="2037" y="3353"/>
                    </a:cubicBezTo>
                    <a:cubicBezTo>
                      <a:pt x="2037" y="3324"/>
                      <a:pt x="2037" y="3197"/>
                      <a:pt x="1996" y="3224"/>
                    </a:cubicBezTo>
                    <a:cubicBezTo>
                      <a:pt x="1996" y="3211"/>
                      <a:pt x="1951" y="3238"/>
                      <a:pt x="1951" y="3238"/>
                    </a:cubicBezTo>
                    <a:cubicBezTo>
                      <a:pt x="1699" y="3253"/>
                      <a:pt x="1699" y="3253"/>
                      <a:pt x="1699" y="3253"/>
                    </a:cubicBezTo>
                    <a:cubicBezTo>
                      <a:pt x="1669" y="3253"/>
                      <a:pt x="1571" y="3268"/>
                      <a:pt x="1571" y="3309"/>
                    </a:cubicBezTo>
                    <a:cubicBezTo>
                      <a:pt x="1598" y="3466"/>
                      <a:pt x="1741" y="3253"/>
                      <a:pt x="1812" y="3380"/>
                    </a:cubicBezTo>
                    <a:cubicBezTo>
                      <a:pt x="1883" y="3493"/>
                      <a:pt x="2123" y="3353"/>
                      <a:pt x="2052" y="3479"/>
                    </a:cubicBezTo>
                    <a:cubicBezTo>
                      <a:pt x="1981" y="3606"/>
                      <a:pt x="1486" y="3380"/>
                      <a:pt x="1373" y="3339"/>
                    </a:cubicBezTo>
                    <a:cubicBezTo>
                      <a:pt x="1302" y="3295"/>
                      <a:pt x="1160" y="3380"/>
                      <a:pt x="1160" y="3253"/>
                    </a:cubicBezTo>
                    <a:cubicBezTo>
                      <a:pt x="1174" y="3140"/>
                      <a:pt x="1204" y="3069"/>
                      <a:pt x="1103" y="2998"/>
                    </a:cubicBezTo>
                    <a:cubicBezTo>
                      <a:pt x="1047" y="2927"/>
                      <a:pt x="1047" y="2927"/>
                      <a:pt x="1047" y="2927"/>
                    </a:cubicBezTo>
                    <a:close/>
                    <a:moveTo>
                      <a:pt x="2900" y="2871"/>
                    </a:moveTo>
                    <a:lnTo>
                      <a:pt x="2900" y="2871"/>
                    </a:lnTo>
                    <a:cubicBezTo>
                      <a:pt x="2944" y="2844"/>
                      <a:pt x="2944" y="2844"/>
                      <a:pt x="2944" y="2844"/>
                    </a:cubicBezTo>
                    <a:cubicBezTo>
                      <a:pt x="3013" y="2787"/>
                      <a:pt x="3001" y="2675"/>
                      <a:pt x="2986" y="2589"/>
                    </a:cubicBezTo>
                    <a:cubicBezTo>
                      <a:pt x="2986" y="2420"/>
                      <a:pt x="3084" y="2447"/>
                      <a:pt x="3170" y="2334"/>
                    </a:cubicBezTo>
                    <a:cubicBezTo>
                      <a:pt x="3211" y="2277"/>
                      <a:pt x="3282" y="2206"/>
                      <a:pt x="3282" y="2121"/>
                    </a:cubicBezTo>
                    <a:cubicBezTo>
                      <a:pt x="3268" y="2121"/>
                      <a:pt x="3184" y="2121"/>
                      <a:pt x="3170" y="2150"/>
                    </a:cubicBezTo>
                    <a:cubicBezTo>
                      <a:pt x="3113" y="2094"/>
                      <a:pt x="2944" y="2292"/>
                      <a:pt x="2971" y="2375"/>
                    </a:cubicBezTo>
                    <a:cubicBezTo>
                      <a:pt x="3013" y="2532"/>
                      <a:pt x="2746" y="2461"/>
                      <a:pt x="2675" y="2488"/>
                    </a:cubicBezTo>
                    <a:cubicBezTo>
                      <a:pt x="2562" y="2447"/>
                      <a:pt x="2476" y="2432"/>
                      <a:pt x="2434" y="2304"/>
                    </a:cubicBezTo>
                    <a:cubicBezTo>
                      <a:pt x="2420" y="2236"/>
                      <a:pt x="2476" y="2008"/>
                      <a:pt x="2447" y="2008"/>
                    </a:cubicBezTo>
                    <a:cubicBezTo>
                      <a:pt x="2390" y="1993"/>
                      <a:pt x="2307" y="1966"/>
                      <a:pt x="2250" y="1951"/>
                    </a:cubicBezTo>
                    <a:cubicBezTo>
                      <a:pt x="2138" y="1951"/>
                      <a:pt x="2094" y="1951"/>
                      <a:pt x="2194" y="2064"/>
                    </a:cubicBezTo>
                    <a:cubicBezTo>
                      <a:pt x="2221" y="2079"/>
                      <a:pt x="2277" y="2108"/>
                      <a:pt x="2307" y="2121"/>
                    </a:cubicBezTo>
                    <a:cubicBezTo>
                      <a:pt x="2334" y="2135"/>
                      <a:pt x="2420" y="2206"/>
                      <a:pt x="2348" y="2236"/>
                    </a:cubicBezTo>
                    <a:cubicBezTo>
                      <a:pt x="2348" y="2236"/>
                      <a:pt x="2277" y="2277"/>
                      <a:pt x="2265" y="2277"/>
                    </a:cubicBezTo>
                    <a:cubicBezTo>
                      <a:pt x="2250" y="2292"/>
                      <a:pt x="2179" y="2349"/>
                      <a:pt x="2165" y="2334"/>
                    </a:cubicBezTo>
                    <a:cubicBezTo>
                      <a:pt x="2138" y="2349"/>
                      <a:pt x="2081" y="2277"/>
                      <a:pt x="2052" y="2263"/>
                    </a:cubicBezTo>
                    <a:cubicBezTo>
                      <a:pt x="2010" y="2221"/>
                      <a:pt x="2022" y="2292"/>
                      <a:pt x="2022" y="2334"/>
                    </a:cubicBezTo>
                    <a:cubicBezTo>
                      <a:pt x="2010" y="2420"/>
                      <a:pt x="1951" y="2488"/>
                      <a:pt x="1951" y="2349"/>
                    </a:cubicBezTo>
                    <a:cubicBezTo>
                      <a:pt x="1951" y="2292"/>
                      <a:pt x="1939" y="2221"/>
                      <a:pt x="1910" y="2165"/>
                    </a:cubicBezTo>
                    <a:cubicBezTo>
                      <a:pt x="1883" y="2135"/>
                      <a:pt x="1868" y="2064"/>
                      <a:pt x="1812" y="2079"/>
                    </a:cubicBezTo>
                    <a:cubicBezTo>
                      <a:pt x="1812" y="2079"/>
                      <a:pt x="1655" y="2206"/>
                      <a:pt x="1598" y="2221"/>
                    </a:cubicBezTo>
                    <a:cubicBezTo>
                      <a:pt x="1486" y="2263"/>
                      <a:pt x="1444" y="2518"/>
                      <a:pt x="1557" y="2603"/>
                    </a:cubicBezTo>
                    <a:cubicBezTo>
                      <a:pt x="1711" y="2716"/>
                      <a:pt x="1711" y="2603"/>
                      <a:pt x="1883" y="2589"/>
                    </a:cubicBezTo>
                    <a:cubicBezTo>
                      <a:pt x="2081" y="2574"/>
                      <a:pt x="2037" y="2871"/>
                      <a:pt x="2334" y="2660"/>
                    </a:cubicBezTo>
                    <a:cubicBezTo>
                      <a:pt x="2363" y="2645"/>
                      <a:pt x="2420" y="2814"/>
                      <a:pt x="2447" y="2856"/>
                    </a:cubicBezTo>
                    <a:cubicBezTo>
                      <a:pt x="2491" y="2983"/>
                      <a:pt x="2405" y="2998"/>
                      <a:pt x="2405" y="3084"/>
                    </a:cubicBezTo>
                    <a:cubicBezTo>
                      <a:pt x="2532" y="3126"/>
                      <a:pt x="2518" y="3054"/>
                      <a:pt x="2660" y="2983"/>
                    </a:cubicBezTo>
                    <a:cubicBezTo>
                      <a:pt x="2900" y="2871"/>
                      <a:pt x="2900" y="2871"/>
                      <a:pt x="2900" y="2871"/>
                    </a:cubicBezTo>
                    <a:close/>
                    <a:moveTo>
                      <a:pt x="0" y="3550"/>
                    </a:moveTo>
                    <a:lnTo>
                      <a:pt x="0" y="3550"/>
                    </a:lnTo>
                    <a:lnTo>
                      <a:pt x="0" y="3550"/>
                    </a:lnTo>
                    <a:cubicBezTo>
                      <a:pt x="27" y="3537"/>
                      <a:pt x="57" y="3550"/>
                      <a:pt x="86" y="3523"/>
                    </a:cubicBezTo>
                    <a:cubicBezTo>
                      <a:pt x="142" y="3452"/>
                      <a:pt x="142" y="3395"/>
                      <a:pt x="240" y="3395"/>
                    </a:cubicBezTo>
                    <a:cubicBezTo>
                      <a:pt x="326" y="3410"/>
                      <a:pt x="397" y="3339"/>
                      <a:pt x="466" y="3353"/>
                    </a:cubicBezTo>
                    <a:cubicBezTo>
                      <a:pt x="525" y="3380"/>
                      <a:pt x="566" y="3380"/>
                      <a:pt x="623" y="3324"/>
                    </a:cubicBezTo>
                    <a:cubicBezTo>
                      <a:pt x="780" y="3182"/>
                      <a:pt x="623" y="3466"/>
                      <a:pt x="593" y="3508"/>
                    </a:cubicBezTo>
                    <a:cubicBezTo>
                      <a:pt x="525" y="3621"/>
                      <a:pt x="466" y="3493"/>
                      <a:pt x="439" y="3579"/>
                    </a:cubicBezTo>
                    <a:cubicBezTo>
                      <a:pt x="424" y="3606"/>
                      <a:pt x="424" y="3650"/>
                      <a:pt x="410" y="3677"/>
                    </a:cubicBezTo>
                    <a:cubicBezTo>
                      <a:pt x="383" y="3706"/>
                      <a:pt x="353" y="3594"/>
                      <a:pt x="297" y="3662"/>
                    </a:cubicBezTo>
                    <a:cubicBezTo>
                      <a:pt x="255" y="3733"/>
                      <a:pt x="297" y="3846"/>
                      <a:pt x="240" y="3917"/>
                    </a:cubicBezTo>
                    <a:cubicBezTo>
                      <a:pt x="184" y="3974"/>
                      <a:pt x="128" y="4018"/>
                      <a:pt x="71" y="4059"/>
                    </a:cubicBezTo>
                    <a:cubicBezTo>
                      <a:pt x="57" y="4074"/>
                      <a:pt x="57" y="4074"/>
                      <a:pt x="42" y="4089"/>
                    </a:cubicBezTo>
                    <a:lnTo>
                      <a:pt x="42" y="4089"/>
                    </a:lnTo>
                    <a:cubicBezTo>
                      <a:pt x="892" y="4584"/>
                      <a:pt x="892" y="4584"/>
                      <a:pt x="892" y="4584"/>
                    </a:cubicBezTo>
                    <a:lnTo>
                      <a:pt x="892" y="4584"/>
                    </a:lnTo>
                    <a:cubicBezTo>
                      <a:pt x="892" y="4540"/>
                      <a:pt x="892" y="4525"/>
                      <a:pt x="878" y="4498"/>
                    </a:cubicBezTo>
                    <a:cubicBezTo>
                      <a:pt x="807" y="4412"/>
                      <a:pt x="976" y="4356"/>
                      <a:pt x="1005" y="4300"/>
                    </a:cubicBezTo>
                    <a:cubicBezTo>
                      <a:pt x="1020" y="4258"/>
                      <a:pt x="1005" y="4157"/>
                      <a:pt x="949" y="4157"/>
                    </a:cubicBezTo>
                    <a:cubicBezTo>
                      <a:pt x="878" y="4157"/>
                      <a:pt x="892" y="4356"/>
                      <a:pt x="836" y="4356"/>
                    </a:cubicBezTo>
                    <a:cubicBezTo>
                      <a:pt x="765" y="4341"/>
                      <a:pt x="780" y="4116"/>
                      <a:pt x="807" y="4074"/>
                    </a:cubicBezTo>
                    <a:cubicBezTo>
                      <a:pt x="807" y="4045"/>
                      <a:pt x="792" y="4018"/>
                      <a:pt x="792" y="4003"/>
                    </a:cubicBezTo>
                    <a:lnTo>
                      <a:pt x="780" y="3988"/>
                    </a:lnTo>
                    <a:cubicBezTo>
                      <a:pt x="750" y="4003"/>
                      <a:pt x="721" y="3974"/>
                      <a:pt x="709" y="3961"/>
                    </a:cubicBezTo>
                    <a:cubicBezTo>
                      <a:pt x="709" y="3932"/>
                      <a:pt x="792" y="3778"/>
                      <a:pt x="807" y="3790"/>
                    </a:cubicBezTo>
                    <a:cubicBezTo>
                      <a:pt x="892" y="3846"/>
                      <a:pt x="878" y="3805"/>
                      <a:pt x="949" y="3733"/>
                    </a:cubicBezTo>
                    <a:cubicBezTo>
                      <a:pt x="1005" y="3662"/>
                      <a:pt x="1020" y="3662"/>
                      <a:pt x="1062" y="3733"/>
                    </a:cubicBezTo>
                    <a:cubicBezTo>
                      <a:pt x="1076" y="3763"/>
                      <a:pt x="1118" y="3692"/>
                      <a:pt x="1133" y="3763"/>
                    </a:cubicBezTo>
                    <a:cubicBezTo>
                      <a:pt x="1160" y="3846"/>
                      <a:pt x="1089" y="3947"/>
                      <a:pt x="1160" y="4032"/>
                    </a:cubicBezTo>
                    <a:cubicBezTo>
                      <a:pt x="1260" y="4116"/>
                      <a:pt x="1429" y="4003"/>
                      <a:pt x="1429" y="4187"/>
                    </a:cubicBezTo>
                    <a:cubicBezTo>
                      <a:pt x="1429" y="4258"/>
                      <a:pt x="1444" y="4314"/>
                      <a:pt x="1444" y="4385"/>
                    </a:cubicBezTo>
                    <a:cubicBezTo>
                      <a:pt x="1444" y="4457"/>
                      <a:pt x="1400" y="4525"/>
                      <a:pt x="1400" y="4596"/>
                    </a:cubicBezTo>
                    <a:cubicBezTo>
                      <a:pt x="1459" y="4724"/>
                      <a:pt x="1486" y="4839"/>
                      <a:pt x="1486" y="4952"/>
                    </a:cubicBezTo>
                    <a:lnTo>
                      <a:pt x="1486" y="4952"/>
                    </a:lnTo>
                    <a:cubicBezTo>
                      <a:pt x="2802" y="6013"/>
                      <a:pt x="2802" y="6013"/>
                      <a:pt x="2802" y="6013"/>
                    </a:cubicBezTo>
                    <a:cubicBezTo>
                      <a:pt x="2844" y="6239"/>
                      <a:pt x="2844" y="6239"/>
                      <a:pt x="2844" y="6239"/>
                    </a:cubicBezTo>
                    <a:cubicBezTo>
                      <a:pt x="3849" y="7413"/>
                      <a:pt x="3849" y="7413"/>
                      <a:pt x="3849" y="7413"/>
                    </a:cubicBezTo>
                    <a:cubicBezTo>
                      <a:pt x="4442" y="7371"/>
                      <a:pt x="4442" y="7371"/>
                      <a:pt x="4442" y="7371"/>
                    </a:cubicBezTo>
                    <a:cubicBezTo>
                      <a:pt x="5349" y="7158"/>
                      <a:pt x="5349" y="7158"/>
                      <a:pt x="5349" y="7158"/>
                    </a:cubicBezTo>
                    <a:cubicBezTo>
                      <a:pt x="6197" y="7271"/>
                      <a:pt x="6197" y="7271"/>
                      <a:pt x="6197" y="7271"/>
                    </a:cubicBezTo>
                    <a:cubicBezTo>
                      <a:pt x="6820" y="7300"/>
                      <a:pt x="6820" y="7300"/>
                      <a:pt x="6820" y="7300"/>
                    </a:cubicBezTo>
                    <a:cubicBezTo>
                      <a:pt x="7288" y="7030"/>
                      <a:pt x="7288" y="7030"/>
                      <a:pt x="7288" y="7030"/>
                    </a:cubicBezTo>
                    <a:cubicBezTo>
                      <a:pt x="7386" y="7060"/>
                      <a:pt x="7386" y="7060"/>
                      <a:pt x="7386" y="7060"/>
                    </a:cubicBezTo>
                    <a:cubicBezTo>
                      <a:pt x="7597" y="7427"/>
                      <a:pt x="7597" y="7427"/>
                      <a:pt x="7597" y="7427"/>
                    </a:cubicBezTo>
                    <a:cubicBezTo>
                      <a:pt x="8009" y="7709"/>
                      <a:pt x="8009" y="7709"/>
                      <a:pt x="8009" y="7709"/>
                    </a:cubicBezTo>
                    <a:cubicBezTo>
                      <a:pt x="8362" y="8445"/>
                      <a:pt x="8362" y="8445"/>
                      <a:pt x="8362" y="8445"/>
                    </a:cubicBezTo>
                    <a:cubicBezTo>
                      <a:pt x="8688" y="8317"/>
                      <a:pt x="8688" y="8317"/>
                      <a:pt x="8688" y="8317"/>
                    </a:cubicBezTo>
                    <a:cubicBezTo>
                      <a:pt x="8658" y="9168"/>
                      <a:pt x="8658" y="9168"/>
                      <a:pt x="8658" y="9168"/>
                    </a:cubicBezTo>
                    <a:lnTo>
                      <a:pt x="8658" y="9168"/>
                    </a:lnTo>
                    <a:cubicBezTo>
                      <a:pt x="10597" y="7795"/>
                      <a:pt x="10597" y="7795"/>
                      <a:pt x="10597" y="7795"/>
                    </a:cubicBezTo>
                    <a:cubicBezTo>
                      <a:pt x="10555" y="7751"/>
                      <a:pt x="10413" y="7653"/>
                      <a:pt x="10499" y="7597"/>
                    </a:cubicBezTo>
                    <a:cubicBezTo>
                      <a:pt x="10514" y="7611"/>
                      <a:pt x="10514" y="7597"/>
                      <a:pt x="10526" y="7611"/>
                    </a:cubicBezTo>
                    <a:cubicBezTo>
                      <a:pt x="10612" y="7555"/>
                      <a:pt x="10570" y="7398"/>
                      <a:pt x="10653" y="7327"/>
                    </a:cubicBezTo>
                    <a:cubicBezTo>
                      <a:pt x="10739" y="7244"/>
                      <a:pt x="10710" y="7172"/>
                      <a:pt x="10710" y="7072"/>
                    </a:cubicBezTo>
                    <a:cubicBezTo>
                      <a:pt x="10710" y="6974"/>
                      <a:pt x="11051" y="7101"/>
                      <a:pt x="10881" y="6819"/>
                    </a:cubicBezTo>
                    <a:cubicBezTo>
                      <a:pt x="10766" y="6648"/>
                      <a:pt x="10965" y="6663"/>
                      <a:pt x="10965" y="6506"/>
                    </a:cubicBezTo>
                    <a:cubicBezTo>
                      <a:pt x="10965" y="6422"/>
                      <a:pt x="10867" y="6393"/>
                      <a:pt x="10796" y="6366"/>
                    </a:cubicBezTo>
                    <a:cubicBezTo>
                      <a:pt x="10698" y="6310"/>
                      <a:pt x="10754" y="6082"/>
                      <a:pt x="10597" y="6013"/>
                    </a:cubicBezTo>
                    <a:cubicBezTo>
                      <a:pt x="10413" y="5913"/>
                      <a:pt x="10342" y="6040"/>
                      <a:pt x="10342" y="5743"/>
                    </a:cubicBezTo>
                    <a:cubicBezTo>
                      <a:pt x="10342" y="4697"/>
                      <a:pt x="10342" y="4697"/>
                      <a:pt x="10342" y="4697"/>
                    </a:cubicBezTo>
                    <a:cubicBezTo>
                      <a:pt x="10229" y="4596"/>
                      <a:pt x="9960" y="4584"/>
                      <a:pt x="9862" y="4400"/>
                    </a:cubicBezTo>
                    <a:cubicBezTo>
                      <a:pt x="9805" y="4285"/>
                      <a:pt x="10019" y="4101"/>
                      <a:pt x="9948" y="3961"/>
                    </a:cubicBezTo>
                    <a:cubicBezTo>
                      <a:pt x="9903" y="3890"/>
                      <a:pt x="9989" y="3733"/>
                      <a:pt x="10004" y="3650"/>
                    </a:cubicBezTo>
                    <a:cubicBezTo>
                      <a:pt x="10019" y="3537"/>
                      <a:pt x="9933" y="3493"/>
                      <a:pt x="9847" y="3410"/>
                    </a:cubicBezTo>
                    <a:cubicBezTo>
                      <a:pt x="9876" y="3238"/>
                      <a:pt x="9876" y="3238"/>
                      <a:pt x="9876" y="3238"/>
                    </a:cubicBezTo>
                    <a:lnTo>
                      <a:pt x="9876" y="3238"/>
                    </a:lnTo>
                    <a:cubicBezTo>
                      <a:pt x="9862" y="3155"/>
                      <a:pt x="9862" y="3155"/>
                      <a:pt x="9862" y="3155"/>
                    </a:cubicBezTo>
                    <a:cubicBezTo>
                      <a:pt x="9820" y="3099"/>
                      <a:pt x="9820" y="3099"/>
                      <a:pt x="9820" y="3099"/>
                    </a:cubicBezTo>
                    <a:cubicBezTo>
                      <a:pt x="9847" y="3054"/>
                      <a:pt x="9847" y="3054"/>
                      <a:pt x="9847" y="3054"/>
                    </a:cubicBezTo>
                    <a:cubicBezTo>
                      <a:pt x="9805" y="2971"/>
                      <a:pt x="9805" y="2971"/>
                      <a:pt x="9805" y="2971"/>
                    </a:cubicBezTo>
                    <a:cubicBezTo>
                      <a:pt x="8136" y="2900"/>
                      <a:pt x="8136" y="2900"/>
                      <a:pt x="8136" y="2900"/>
                    </a:cubicBezTo>
                    <a:cubicBezTo>
                      <a:pt x="7656" y="2559"/>
                      <a:pt x="7656" y="2559"/>
                      <a:pt x="7656" y="2559"/>
                    </a:cubicBezTo>
                    <a:cubicBezTo>
                      <a:pt x="7540" y="2361"/>
                      <a:pt x="7540" y="2361"/>
                      <a:pt x="7540" y="2361"/>
                    </a:cubicBezTo>
                    <a:cubicBezTo>
                      <a:pt x="7330" y="2375"/>
                      <a:pt x="7330" y="2375"/>
                      <a:pt x="7330" y="2375"/>
                    </a:cubicBezTo>
                    <a:cubicBezTo>
                      <a:pt x="6479" y="1937"/>
                      <a:pt x="6479" y="1937"/>
                      <a:pt x="6479" y="1937"/>
                    </a:cubicBezTo>
                    <a:cubicBezTo>
                      <a:pt x="6013" y="1768"/>
                      <a:pt x="6013" y="1768"/>
                      <a:pt x="6013" y="1768"/>
                    </a:cubicBezTo>
                    <a:cubicBezTo>
                      <a:pt x="5957" y="1768"/>
                      <a:pt x="5957" y="1768"/>
                      <a:pt x="5957" y="1768"/>
                    </a:cubicBezTo>
                    <a:cubicBezTo>
                      <a:pt x="5503" y="1613"/>
                      <a:pt x="5503" y="1613"/>
                      <a:pt x="5503" y="1613"/>
                    </a:cubicBezTo>
                    <a:cubicBezTo>
                      <a:pt x="5177" y="1329"/>
                      <a:pt x="5177" y="1329"/>
                      <a:pt x="5177" y="1329"/>
                    </a:cubicBezTo>
                    <a:cubicBezTo>
                      <a:pt x="4697" y="1400"/>
                      <a:pt x="4697" y="1400"/>
                      <a:pt x="4697" y="1400"/>
                    </a:cubicBezTo>
                    <a:cubicBezTo>
                      <a:pt x="4868" y="1231"/>
                      <a:pt x="4868" y="1231"/>
                      <a:pt x="4868" y="1231"/>
                    </a:cubicBezTo>
                    <a:lnTo>
                      <a:pt x="4868" y="1231"/>
                    </a:lnTo>
                    <a:cubicBezTo>
                      <a:pt x="4655" y="1145"/>
                      <a:pt x="4655" y="1145"/>
                      <a:pt x="4655" y="1145"/>
                    </a:cubicBezTo>
                    <a:cubicBezTo>
                      <a:pt x="4599" y="834"/>
                      <a:pt x="4599" y="834"/>
                      <a:pt x="4599" y="834"/>
                    </a:cubicBezTo>
                    <a:cubicBezTo>
                      <a:pt x="4386" y="552"/>
                      <a:pt x="4386" y="552"/>
                      <a:pt x="4386" y="552"/>
                    </a:cubicBezTo>
                    <a:cubicBezTo>
                      <a:pt x="4216" y="537"/>
                      <a:pt x="4216" y="537"/>
                      <a:pt x="4216" y="537"/>
                    </a:cubicBezTo>
                    <a:cubicBezTo>
                      <a:pt x="4033" y="226"/>
                      <a:pt x="4033" y="226"/>
                      <a:pt x="4033" y="226"/>
                    </a:cubicBezTo>
                    <a:cubicBezTo>
                      <a:pt x="3849" y="0"/>
                      <a:pt x="3849" y="0"/>
                      <a:pt x="3849" y="0"/>
                    </a:cubicBezTo>
                    <a:cubicBezTo>
                      <a:pt x="3099" y="57"/>
                      <a:pt x="3099" y="57"/>
                      <a:pt x="3099" y="57"/>
                    </a:cubicBezTo>
                    <a:cubicBezTo>
                      <a:pt x="2675" y="1103"/>
                      <a:pt x="2675" y="1103"/>
                      <a:pt x="2675" y="1103"/>
                    </a:cubicBezTo>
                    <a:cubicBezTo>
                      <a:pt x="2206" y="1103"/>
                      <a:pt x="2206" y="1103"/>
                      <a:pt x="2206" y="1103"/>
                    </a:cubicBezTo>
                    <a:cubicBezTo>
                      <a:pt x="2010" y="1032"/>
                      <a:pt x="2010" y="1032"/>
                      <a:pt x="2010" y="1032"/>
                    </a:cubicBezTo>
                    <a:cubicBezTo>
                      <a:pt x="1966" y="1640"/>
                      <a:pt x="1966" y="1640"/>
                      <a:pt x="1966" y="1640"/>
                    </a:cubicBezTo>
                    <a:cubicBezTo>
                      <a:pt x="1613" y="1696"/>
                      <a:pt x="1613" y="1696"/>
                      <a:pt x="1613" y="1696"/>
                    </a:cubicBezTo>
                    <a:cubicBezTo>
                      <a:pt x="1316" y="2008"/>
                      <a:pt x="1316" y="2008"/>
                      <a:pt x="1316" y="2008"/>
                    </a:cubicBezTo>
                    <a:cubicBezTo>
                      <a:pt x="454" y="3211"/>
                      <a:pt x="454" y="3211"/>
                      <a:pt x="454" y="3211"/>
                    </a:cubicBezTo>
                    <a:cubicBezTo>
                      <a:pt x="128" y="3353"/>
                      <a:pt x="128" y="3353"/>
                      <a:pt x="128" y="3353"/>
                    </a:cubicBezTo>
                    <a:lnTo>
                      <a:pt x="0" y="3550"/>
                    </a:lnTo>
                    <a:close/>
                  </a:path>
                </a:pathLst>
              </a:custGeom>
              <a:solidFill>
                <a:schemeClr val="accent5"/>
              </a:solidFill>
              <a:ln w="28575" cap="flat" cmpd="sng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lIns="45720" tIns="22860" rIns="45720" bIns="22860" anchor="ctr"/>
              <a:lstStyle/>
              <a:p>
                <a:endParaRPr lang="en-US" sz="1400" dirty="0">
                  <a:latin typeface="Lato Light" charset="0"/>
                </a:endParaRPr>
              </a:p>
            </p:txBody>
          </p:sp>
          <p:sp>
            <p:nvSpPr>
              <p:cNvPr id="32" name="Freeform 8"/>
              <p:cNvSpPr>
                <a:spLocks noChangeArrowheads="1"/>
              </p:cNvSpPr>
              <p:nvPr/>
            </p:nvSpPr>
            <p:spPr bwMode="auto">
              <a:xfrm>
                <a:off x="8563119" y="5343912"/>
                <a:ext cx="1428078" cy="1184430"/>
              </a:xfrm>
              <a:custGeom>
                <a:avLst/>
                <a:gdLst>
                  <a:gd name="T0" fmla="*/ 0 w 8009"/>
                  <a:gd name="T1" fmla="*/ 57 h 6056"/>
                  <a:gd name="T2" fmla="*/ 5915 w 8009"/>
                  <a:gd name="T3" fmla="*/ 0 h 6056"/>
                  <a:gd name="T4" fmla="*/ 5745 w 8009"/>
                  <a:gd name="T5" fmla="*/ 821 h 6056"/>
                  <a:gd name="T6" fmla="*/ 5929 w 8009"/>
                  <a:gd name="T7" fmla="*/ 1429 h 6056"/>
                  <a:gd name="T8" fmla="*/ 6057 w 8009"/>
                  <a:gd name="T9" fmla="*/ 1768 h 6056"/>
                  <a:gd name="T10" fmla="*/ 6523 w 8009"/>
                  <a:gd name="T11" fmla="*/ 1993 h 6056"/>
                  <a:gd name="T12" fmla="*/ 6748 w 8009"/>
                  <a:gd name="T13" fmla="*/ 2574 h 6056"/>
                  <a:gd name="T14" fmla="*/ 7089 w 8009"/>
                  <a:gd name="T15" fmla="*/ 2716 h 6056"/>
                  <a:gd name="T16" fmla="*/ 7430 w 8009"/>
                  <a:gd name="T17" fmla="*/ 3084 h 6056"/>
                  <a:gd name="T18" fmla="*/ 7216 w 8009"/>
                  <a:gd name="T19" fmla="*/ 4018 h 6056"/>
                  <a:gd name="T20" fmla="*/ 7542 w 8009"/>
                  <a:gd name="T21" fmla="*/ 4229 h 6056"/>
                  <a:gd name="T22" fmla="*/ 7782 w 8009"/>
                  <a:gd name="T23" fmla="*/ 4993 h 6056"/>
                  <a:gd name="T24" fmla="*/ 8008 w 8009"/>
                  <a:gd name="T25" fmla="*/ 5177 h 6056"/>
                  <a:gd name="T26" fmla="*/ 7952 w 8009"/>
                  <a:gd name="T27" fmla="*/ 5334 h 6056"/>
                  <a:gd name="T28" fmla="*/ 7670 w 8009"/>
                  <a:gd name="T29" fmla="*/ 5305 h 6056"/>
                  <a:gd name="T30" fmla="*/ 7258 w 8009"/>
                  <a:gd name="T31" fmla="*/ 5207 h 6056"/>
                  <a:gd name="T32" fmla="*/ 6564 w 8009"/>
                  <a:gd name="T33" fmla="*/ 4783 h 6056"/>
                  <a:gd name="T34" fmla="*/ 6155 w 8009"/>
                  <a:gd name="T35" fmla="*/ 4596 h 6056"/>
                  <a:gd name="T36" fmla="*/ 5929 w 8009"/>
                  <a:gd name="T37" fmla="*/ 4697 h 6056"/>
                  <a:gd name="T38" fmla="*/ 5689 w 8009"/>
                  <a:gd name="T39" fmla="*/ 4824 h 6056"/>
                  <a:gd name="T40" fmla="*/ 5277 w 8009"/>
                  <a:gd name="T41" fmla="*/ 5150 h 6056"/>
                  <a:gd name="T42" fmla="*/ 5319 w 8009"/>
                  <a:gd name="T43" fmla="*/ 5927 h 6056"/>
                  <a:gd name="T44" fmla="*/ 5093 w 8009"/>
                  <a:gd name="T45" fmla="*/ 5871 h 6056"/>
                  <a:gd name="T46" fmla="*/ 4174 w 8009"/>
                  <a:gd name="T47" fmla="*/ 5545 h 6056"/>
                  <a:gd name="T48" fmla="*/ 3522 w 8009"/>
                  <a:gd name="T49" fmla="*/ 5346 h 6056"/>
                  <a:gd name="T50" fmla="*/ 3267 w 8009"/>
                  <a:gd name="T51" fmla="*/ 5290 h 6056"/>
                  <a:gd name="T52" fmla="*/ 2843 w 8009"/>
                  <a:gd name="T53" fmla="*/ 5346 h 6056"/>
                  <a:gd name="T54" fmla="*/ 2689 w 8009"/>
                  <a:gd name="T55" fmla="*/ 5405 h 6056"/>
                  <a:gd name="T56" fmla="*/ 2561 w 8009"/>
                  <a:gd name="T57" fmla="*/ 5631 h 6056"/>
                  <a:gd name="T58" fmla="*/ 2434 w 8009"/>
                  <a:gd name="T59" fmla="*/ 5842 h 6056"/>
                  <a:gd name="T60" fmla="*/ 2250 w 8009"/>
                  <a:gd name="T61" fmla="*/ 6055 h 6056"/>
                  <a:gd name="T62" fmla="*/ 2149 w 8009"/>
                  <a:gd name="T63" fmla="*/ 5856 h 6056"/>
                  <a:gd name="T64" fmla="*/ 1882 w 8009"/>
                  <a:gd name="T65" fmla="*/ 5589 h 6056"/>
                  <a:gd name="T66" fmla="*/ 1669 w 8009"/>
                  <a:gd name="T67" fmla="*/ 5361 h 6056"/>
                  <a:gd name="T68" fmla="*/ 1485 w 8009"/>
                  <a:gd name="T69" fmla="*/ 4895 h 6056"/>
                  <a:gd name="T70" fmla="*/ 1103 w 8009"/>
                  <a:gd name="T71" fmla="*/ 4471 h 6056"/>
                  <a:gd name="T72" fmla="*/ 750 w 8009"/>
                  <a:gd name="T73" fmla="*/ 4300 h 6056"/>
                  <a:gd name="T74" fmla="*/ 622 w 8009"/>
                  <a:gd name="T75" fmla="*/ 4116 h 6056"/>
                  <a:gd name="T76" fmla="*/ 948 w 8009"/>
                  <a:gd name="T77" fmla="*/ 3197 h 6056"/>
                  <a:gd name="T78" fmla="*/ 664 w 8009"/>
                  <a:gd name="T79" fmla="*/ 1809 h 6056"/>
                  <a:gd name="T80" fmla="*/ 255 w 8009"/>
                  <a:gd name="T81" fmla="*/ 353 h 6056"/>
                  <a:gd name="T82" fmla="*/ 0 w 8009"/>
                  <a:gd name="T83" fmla="*/ 57 h 60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8009" h="6056">
                    <a:moveTo>
                      <a:pt x="0" y="57"/>
                    </a:moveTo>
                    <a:lnTo>
                      <a:pt x="0" y="57"/>
                    </a:lnTo>
                    <a:cubicBezTo>
                      <a:pt x="5915" y="0"/>
                      <a:pt x="5915" y="0"/>
                      <a:pt x="5915" y="0"/>
                    </a:cubicBezTo>
                    <a:lnTo>
                      <a:pt x="5915" y="0"/>
                    </a:lnTo>
                    <a:cubicBezTo>
                      <a:pt x="5858" y="211"/>
                      <a:pt x="5858" y="211"/>
                      <a:pt x="5858" y="211"/>
                    </a:cubicBezTo>
                    <a:cubicBezTo>
                      <a:pt x="5745" y="821"/>
                      <a:pt x="5745" y="821"/>
                      <a:pt x="5745" y="821"/>
                    </a:cubicBezTo>
                    <a:cubicBezTo>
                      <a:pt x="5915" y="1258"/>
                      <a:pt x="5915" y="1258"/>
                      <a:pt x="5915" y="1258"/>
                    </a:cubicBezTo>
                    <a:cubicBezTo>
                      <a:pt x="5929" y="1429"/>
                      <a:pt x="5929" y="1429"/>
                      <a:pt x="5929" y="1429"/>
                    </a:cubicBezTo>
                    <a:cubicBezTo>
                      <a:pt x="6057" y="1753"/>
                      <a:pt x="6057" y="1753"/>
                      <a:pt x="6057" y="1753"/>
                    </a:cubicBezTo>
                    <a:cubicBezTo>
                      <a:pt x="6057" y="1768"/>
                      <a:pt x="6057" y="1768"/>
                      <a:pt x="6057" y="1768"/>
                    </a:cubicBezTo>
                    <a:cubicBezTo>
                      <a:pt x="6069" y="1824"/>
                      <a:pt x="6184" y="1824"/>
                      <a:pt x="6226" y="1824"/>
                    </a:cubicBezTo>
                    <a:cubicBezTo>
                      <a:pt x="6297" y="1839"/>
                      <a:pt x="6493" y="1937"/>
                      <a:pt x="6523" y="1993"/>
                    </a:cubicBezTo>
                    <a:cubicBezTo>
                      <a:pt x="6552" y="2052"/>
                      <a:pt x="6537" y="2192"/>
                      <a:pt x="6537" y="2248"/>
                    </a:cubicBezTo>
                    <a:cubicBezTo>
                      <a:pt x="6552" y="2334"/>
                      <a:pt x="6635" y="2559"/>
                      <a:pt x="6748" y="2574"/>
                    </a:cubicBezTo>
                    <a:cubicBezTo>
                      <a:pt x="6807" y="2574"/>
                      <a:pt x="6863" y="2532"/>
                      <a:pt x="6932" y="2589"/>
                    </a:cubicBezTo>
                    <a:cubicBezTo>
                      <a:pt x="6976" y="2616"/>
                      <a:pt x="7047" y="2675"/>
                      <a:pt x="7089" y="2716"/>
                    </a:cubicBezTo>
                    <a:cubicBezTo>
                      <a:pt x="7145" y="2758"/>
                      <a:pt x="7175" y="2814"/>
                      <a:pt x="7216" y="2858"/>
                    </a:cubicBezTo>
                    <a:cubicBezTo>
                      <a:pt x="7300" y="2942"/>
                      <a:pt x="7442" y="2956"/>
                      <a:pt x="7430" y="3084"/>
                    </a:cubicBezTo>
                    <a:cubicBezTo>
                      <a:pt x="7415" y="3253"/>
                      <a:pt x="7456" y="3508"/>
                      <a:pt x="7358" y="3621"/>
                    </a:cubicBezTo>
                    <a:cubicBezTo>
                      <a:pt x="7258" y="3748"/>
                      <a:pt x="6932" y="3861"/>
                      <a:pt x="7216" y="4018"/>
                    </a:cubicBezTo>
                    <a:cubicBezTo>
                      <a:pt x="7273" y="4045"/>
                      <a:pt x="7344" y="3974"/>
                      <a:pt x="7371" y="4018"/>
                    </a:cubicBezTo>
                    <a:cubicBezTo>
                      <a:pt x="7456" y="4131"/>
                      <a:pt x="7655" y="4018"/>
                      <a:pt x="7542" y="4229"/>
                    </a:cubicBezTo>
                    <a:cubicBezTo>
                      <a:pt x="7456" y="4400"/>
                      <a:pt x="7329" y="4783"/>
                      <a:pt x="7613" y="4866"/>
                    </a:cubicBezTo>
                    <a:cubicBezTo>
                      <a:pt x="7711" y="4895"/>
                      <a:pt x="7797" y="4866"/>
                      <a:pt x="7782" y="4993"/>
                    </a:cubicBezTo>
                    <a:cubicBezTo>
                      <a:pt x="7782" y="5079"/>
                      <a:pt x="7952" y="5121"/>
                      <a:pt x="8008" y="5177"/>
                    </a:cubicBezTo>
                    <a:lnTo>
                      <a:pt x="8008" y="5177"/>
                    </a:lnTo>
                    <a:cubicBezTo>
                      <a:pt x="7993" y="5177"/>
                      <a:pt x="7979" y="5192"/>
                      <a:pt x="7979" y="5192"/>
                    </a:cubicBezTo>
                    <a:cubicBezTo>
                      <a:pt x="7952" y="5334"/>
                      <a:pt x="7952" y="5334"/>
                      <a:pt x="7952" y="5334"/>
                    </a:cubicBezTo>
                    <a:cubicBezTo>
                      <a:pt x="7922" y="5334"/>
                      <a:pt x="7895" y="5319"/>
                      <a:pt x="7881" y="5319"/>
                    </a:cubicBezTo>
                    <a:cubicBezTo>
                      <a:pt x="7809" y="5290"/>
                      <a:pt x="7738" y="5334"/>
                      <a:pt x="7670" y="5305"/>
                    </a:cubicBezTo>
                    <a:cubicBezTo>
                      <a:pt x="7626" y="5275"/>
                      <a:pt x="7555" y="5248"/>
                      <a:pt x="7498" y="5248"/>
                    </a:cubicBezTo>
                    <a:cubicBezTo>
                      <a:pt x="7385" y="5248"/>
                      <a:pt x="7371" y="5248"/>
                      <a:pt x="7258" y="5207"/>
                    </a:cubicBezTo>
                    <a:cubicBezTo>
                      <a:pt x="7145" y="5150"/>
                      <a:pt x="6991" y="5035"/>
                      <a:pt x="6876" y="5008"/>
                    </a:cubicBezTo>
                    <a:cubicBezTo>
                      <a:pt x="6721" y="4979"/>
                      <a:pt x="6677" y="4895"/>
                      <a:pt x="6564" y="4783"/>
                    </a:cubicBezTo>
                    <a:cubicBezTo>
                      <a:pt x="6508" y="4726"/>
                      <a:pt x="6395" y="4768"/>
                      <a:pt x="6324" y="4697"/>
                    </a:cubicBezTo>
                    <a:cubicBezTo>
                      <a:pt x="6282" y="4655"/>
                      <a:pt x="6226" y="4626"/>
                      <a:pt x="6155" y="4596"/>
                    </a:cubicBezTo>
                    <a:cubicBezTo>
                      <a:pt x="6140" y="4682"/>
                      <a:pt x="6140" y="4682"/>
                      <a:pt x="6140" y="4682"/>
                    </a:cubicBezTo>
                    <a:cubicBezTo>
                      <a:pt x="6128" y="4753"/>
                      <a:pt x="5956" y="4738"/>
                      <a:pt x="5929" y="4697"/>
                    </a:cubicBezTo>
                    <a:cubicBezTo>
                      <a:pt x="5829" y="4611"/>
                      <a:pt x="5844" y="4795"/>
                      <a:pt x="5814" y="4810"/>
                    </a:cubicBezTo>
                    <a:cubicBezTo>
                      <a:pt x="5772" y="4839"/>
                      <a:pt x="5731" y="4824"/>
                      <a:pt x="5689" y="4824"/>
                    </a:cubicBezTo>
                    <a:cubicBezTo>
                      <a:pt x="5618" y="4839"/>
                      <a:pt x="5562" y="4910"/>
                      <a:pt x="5505" y="4910"/>
                    </a:cubicBezTo>
                    <a:cubicBezTo>
                      <a:pt x="5390" y="4979"/>
                      <a:pt x="5348" y="5121"/>
                      <a:pt x="5277" y="5150"/>
                    </a:cubicBezTo>
                    <a:cubicBezTo>
                      <a:pt x="5277" y="5346"/>
                      <a:pt x="5307" y="5305"/>
                      <a:pt x="5236" y="5503"/>
                    </a:cubicBezTo>
                    <a:cubicBezTo>
                      <a:pt x="5179" y="5645"/>
                      <a:pt x="5250" y="5829"/>
                      <a:pt x="5319" y="5927"/>
                    </a:cubicBezTo>
                    <a:cubicBezTo>
                      <a:pt x="5319" y="5942"/>
                      <a:pt x="5319" y="5927"/>
                      <a:pt x="5319" y="5942"/>
                    </a:cubicBezTo>
                    <a:cubicBezTo>
                      <a:pt x="5307" y="5969"/>
                      <a:pt x="5093" y="5927"/>
                      <a:pt x="5093" y="5871"/>
                    </a:cubicBezTo>
                    <a:cubicBezTo>
                      <a:pt x="5093" y="5729"/>
                      <a:pt x="4853" y="5773"/>
                      <a:pt x="4753" y="5773"/>
                    </a:cubicBezTo>
                    <a:cubicBezTo>
                      <a:pt x="4471" y="5773"/>
                      <a:pt x="4429" y="5530"/>
                      <a:pt x="4174" y="5545"/>
                    </a:cubicBezTo>
                    <a:cubicBezTo>
                      <a:pt x="4118" y="5560"/>
                      <a:pt x="4074" y="5503"/>
                      <a:pt x="4017" y="5462"/>
                    </a:cubicBezTo>
                    <a:cubicBezTo>
                      <a:pt x="3821" y="5346"/>
                      <a:pt x="3721" y="5462"/>
                      <a:pt x="3522" y="5346"/>
                    </a:cubicBezTo>
                    <a:cubicBezTo>
                      <a:pt x="3495" y="5346"/>
                      <a:pt x="3451" y="5305"/>
                      <a:pt x="3409" y="5290"/>
                    </a:cubicBezTo>
                    <a:cubicBezTo>
                      <a:pt x="3368" y="5275"/>
                      <a:pt x="3311" y="5305"/>
                      <a:pt x="3267" y="5290"/>
                    </a:cubicBezTo>
                    <a:cubicBezTo>
                      <a:pt x="3142" y="5290"/>
                      <a:pt x="3127" y="5334"/>
                      <a:pt x="3015" y="5346"/>
                    </a:cubicBezTo>
                    <a:cubicBezTo>
                      <a:pt x="2843" y="5346"/>
                      <a:pt x="2843" y="5346"/>
                      <a:pt x="2843" y="5346"/>
                    </a:cubicBezTo>
                    <a:cubicBezTo>
                      <a:pt x="2801" y="5361"/>
                      <a:pt x="2801" y="5405"/>
                      <a:pt x="2772" y="5417"/>
                    </a:cubicBezTo>
                    <a:cubicBezTo>
                      <a:pt x="2745" y="5417"/>
                      <a:pt x="2716" y="5376"/>
                      <a:pt x="2689" y="5405"/>
                    </a:cubicBezTo>
                    <a:cubicBezTo>
                      <a:pt x="2659" y="5432"/>
                      <a:pt x="2659" y="5489"/>
                      <a:pt x="2632" y="5530"/>
                    </a:cubicBezTo>
                    <a:cubicBezTo>
                      <a:pt x="2547" y="5601"/>
                      <a:pt x="2588" y="5518"/>
                      <a:pt x="2561" y="5631"/>
                    </a:cubicBezTo>
                    <a:cubicBezTo>
                      <a:pt x="2532" y="5687"/>
                      <a:pt x="2448" y="5672"/>
                      <a:pt x="2404" y="5687"/>
                    </a:cubicBezTo>
                    <a:cubicBezTo>
                      <a:pt x="2306" y="5714"/>
                      <a:pt x="2434" y="5785"/>
                      <a:pt x="2434" y="5842"/>
                    </a:cubicBezTo>
                    <a:cubicBezTo>
                      <a:pt x="2392" y="5856"/>
                      <a:pt x="2292" y="5815"/>
                      <a:pt x="2306" y="5898"/>
                    </a:cubicBezTo>
                    <a:cubicBezTo>
                      <a:pt x="2321" y="5957"/>
                      <a:pt x="2279" y="5998"/>
                      <a:pt x="2250" y="6055"/>
                    </a:cubicBezTo>
                    <a:lnTo>
                      <a:pt x="2250" y="6055"/>
                    </a:lnTo>
                    <a:cubicBezTo>
                      <a:pt x="2164" y="5998"/>
                      <a:pt x="2164" y="5942"/>
                      <a:pt x="2149" y="5856"/>
                    </a:cubicBezTo>
                    <a:cubicBezTo>
                      <a:pt x="2122" y="5785"/>
                      <a:pt x="1980" y="5800"/>
                      <a:pt x="1980" y="5702"/>
                    </a:cubicBezTo>
                    <a:cubicBezTo>
                      <a:pt x="1980" y="5601"/>
                      <a:pt x="1953" y="5631"/>
                      <a:pt x="1882" y="5589"/>
                    </a:cubicBezTo>
                    <a:cubicBezTo>
                      <a:pt x="1841" y="5560"/>
                      <a:pt x="1826" y="5530"/>
                      <a:pt x="1811" y="5503"/>
                    </a:cubicBezTo>
                    <a:cubicBezTo>
                      <a:pt x="1755" y="5462"/>
                      <a:pt x="1740" y="5391"/>
                      <a:pt x="1669" y="5361"/>
                    </a:cubicBezTo>
                    <a:cubicBezTo>
                      <a:pt x="1613" y="5346"/>
                      <a:pt x="1541" y="5361"/>
                      <a:pt x="1515" y="5290"/>
                    </a:cubicBezTo>
                    <a:cubicBezTo>
                      <a:pt x="1458" y="5163"/>
                      <a:pt x="1571" y="5023"/>
                      <a:pt x="1485" y="4895"/>
                    </a:cubicBezTo>
                    <a:cubicBezTo>
                      <a:pt x="1443" y="4824"/>
                      <a:pt x="1443" y="4726"/>
                      <a:pt x="1387" y="4682"/>
                    </a:cubicBezTo>
                    <a:cubicBezTo>
                      <a:pt x="1260" y="4584"/>
                      <a:pt x="1345" y="4484"/>
                      <a:pt x="1103" y="4471"/>
                    </a:cubicBezTo>
                    <a:cubicBezTo>
                      <a:pt x="1019" y="4471"/>
                      <a:pt x="1019" y="4400"/>
                      <a:pt x="963" y="4386"/>
                    </a:cubicBezTo>
                    <a:cubicBezTo>
                      <a:pt x="836" y="4356"/>
                      <a:pt x="862" y="4371"/>
                      <a:pt x="750" y="4300"/>
                    </a:cubicBezTo>
                    <a:cubicBezTo>
                      <a:pt x="693" y="4243"/>
                      <a:pt x="708" y="4243"/>
                      <a:pt x="708" y="4172"/>
                    </a:cubicBezTo>
                    <a:cubicBezTo>
                      <a:pt x="708" y="4116"/>
                      <a:pt x="652" y="4145"/>
                      <a:pt x="622" y="4116"/>
                    </a:cubicBezTo>
                    <a:cubicBezTo>
                      <a:pt x="539" y="4045"/>
                      <a:pt x="693" y="3834"/>
                      <a:pt x="723" y="3763"/>
                    </a:cubicBezTo>
                    <a:cubicBezTo>
                      <a:pt x="806" y="3594"/>
                      <a:pt x="948" y="3395"/>
                      <a:pt x="948" y="3197"/>
                    </a:cubicBezTo>
                    <a:cubicBezTo>
                      <a:pt x="907" y="2802"/>
                      <a:pt x="907" y="2802"/>
                      <a:pt x="907" y="2802"/>
                    </a:cubicBezTo>
                    <a:cubicBezTo>
                      <a:pt x="664" y="1809"/>
                      <a:pt x="664" y="1809"/>
                      <a:pt x="664" y="1809"/>
                    </a:cubicBezTo>
                    <a:cubicBezTo>
                      <a:pt x="213" y="552"/>
                      <a:pt x="213" y="552"/>
                      <a:pt x="213" y="552"/>
                    </a:cubicBezTo>
                    <a:cubicBezTo>
                      <a:pt x="255" y="353"/>
                      <a:pt x="255" y="353"/>
                      <a:pt x="255" y="353"/>
                    </a:cubicBezTo>
                    <a:cubicBezTo>
                      <a:pt x="100" y="268"/>
                      <a:pt x="100" y="268"/>
                      <a:pt x="100" y="268"/>
                    </a:cubicBezTo>
                    <a:cubicBezTo>
                      <a:pt x="0" y="57"/>
                      <a:pt x="0" y="57"/>
                      <a:pt x="0" y="57"/>
                    </a:cubicBezTo>
                  </a:path>
                </a:pathLst>
              </a:custGeom>
              <a:solidFill>
                <a:schemeClr val="accent5"/>
              </a:solidFill>
              <a:ln w="28575" cap="flat" cmpd="sng">
                <a:solidFill>
                  <a:schemeClr val="bg1"/>
                </a:solidFill>
                <a:bevel/>
                <a:headEnd/>
                <a:tailEnd/>
              </a:ln>
              <a:effectLst/>
            </p:spPr>
            <p:txBody>
              <a:bodyPr wrap="none" lIns="45720" tIns="22860" rIns="45720" bIns="22860" anchor="ctr"/>
              <a:lstStyle/>
              <a:p>
                <a:endParaRPr lang="en-US" sz="1400" dirty="0">
                  <a:latin typeface="Lato Light" charset="0"/>
                </a:endParaRPr>
              </a:p>
            </p:txBody>
          </p:sp>
          <p:sp>
            <p:nvSpPr>
              <p:cNvPr id="33" name="Freeform 9"/>
              <p:cNvSpPr>
                <a:spLocks noChangeArrowheads="1"/>
              </p:cNvSpPr>
              <p:nvPr/>
            </p:nvSpPr>
            <p:spPr bwMode="auto">
              <a:xfrm>
                <a:off x="7932436" y="5349088"/>
                <a:ext cx="1037244" cy="1730492"/>
              </a:xfrm>
              <a:custGeom>
                <a:avLst/>
                <a:gdLst>
                  <a:gd name="T0" fmla="*/ 113 w 5818"/>
                  <a:gd name="T1" fmla="*/ 5930 h 8845"/>
                  <a:gd name="T2" fmla="*/ 1954 w 5818"/>
                  <a:gd name="T3" fmla="*/ 4359 h 8845"/>
                  <a:gd name="T4" fmla="*/ 2108 w 5818"/>
                  <a:gd name="T5" fmla="*/ 4089 h 8845"/>
                  <a:gd name="T6" fmla="*/ 2336 w 5818"/>
                  <a:gd name="T7" fmla="*/ 3581 h 8845"/>
                  <a:gd name="T8" fmla="*/ 2251 w 5818"/>
                  <a:gd name="T9" fmla="*/ 3128 h 8845"/>
                  <a:gd name="T10" fmla="*/ 1797 w 5818"/>
                  <a:gd name="T11" fmla="*/ 2505 h 8845"/>
                  <a:gd name="T12" fmla="*/ 1317 w 5818"/>
                  <a:gd name="T13" fmla="*/ 1162 h 8845"/>
                  <a:gd name="T14" fmla="*/ 1459 w 5818"/>
                  <a:gd name="T15" fmla="*/ 412 h 8845"/>
                  <a:gd name="T16" fmla="*/ 1331 w 5818"/>
                  <a:gd name="T17" fmla="*/ 0 h 8845"/>
                  <a:gd name="T18" fmla="*/ 3538 w 5818"/>
                  <a:gd name="T19" fmla="*/ 30 h 8845"/>
                  <a:gd name="T20" fmla="*/ 3638 w 5818"/>
                  <a:gd name="T21" fmla="*/ 241 h 8845"/>
                  <a:gd name="T22" fmla="*/ 3751 w 5818"/>
                  <a:gd name="T23" fmla="*/ 525 h 8845"/>
                  <a:gd name="T24" fmla="*/ 4445 w 5818"/>
                  <a:gd name="T25" fmla="*/ 2775 h 8845"/>
                  <a:gd name="T26" fmla="*/ 4261 w 5818"/>
                  <a:gd name="T27" fmla="*/ 3736 h 8845"/>
                  <a:gd name="T28" fmla="*/ 4246 w 5818"/>
                  <a:gd name="T29" fmla="*/ 4145 h 8845"/>
                  <a:gd name="T30" fmla="*/ 4501 w 5818"/>
                  <a:gd name="T31" fmla="*/ 4359 h 8845"/>
                  <a:gd name="T32" fmla="*/ 4925 w 5818"/>
                  <a:gd name="T33" fmla="*/ 4655 h 8845"/>
                  <a:gd name="T34" fmla="*/ 5053 w 5818"/>
                  <a:gd name="T35" fmla="*/ 5263 h 8845"/>
                  <a:gd name="T36" fmla="*/ 5349 w 5818"/>
                  <a:gd name="T37" fmla="*/ 5476 h 8845"/>
                  <a:gd name="T38" fmla="*/ 5518 w 5818"/>
                  <a:gd name="T39" fmla="*/ 5675 h 8845"/>
                  <a:gd name="T40" fmla="*/ 5788 w 5818"/>
                  <a:gd name="T41" fmla="*/ 6028 h 8845"/>
                  <a:gd name="T42" fmla="*/ 5746 w 5818"/>
                  <a:gd name="T43" fmla="*/ 6084 h 8845"/>
                  <a:gd name="T44" fmla="*/ 5817 w 5818"/>
                  <a:gd name="T45" fmla="*/ 6155 h 8845"/>
                  <a:gd name="T46" fmla="*/ 5660 w 5818"/>
                  <a:gd name="T47" fmla="*/ 6268 h 8845"/>
                  <a:gd name="T48" fmla="*/ 5109 w 5818"/>
                  <a:gd name="T49" fmla="*/ 6523 h 8845"/>
                  <a:gd name="T50" fmla="*/ 4952 w 5818"/>
                  <a:gd name="T51" fmla="*/ 6748 h 8845"/>
                  <a:gd name="T52" fmla="*/ 4768 w 5818"/>
                  <a:gd name="T53" fmla="*/ 6920 h 8845"/>
                  <a:gd name="T54" fmla="*/ 4486 w 5818"/>
                  <a:gd name="T55" fmla="*/ 7018 h 8845"/>
                  <a:gd name="T56" fmla="*/ 4077 w 5818"/>
                  <a:gd name="T57" fmla="*/ 7359 h 8845"/>
                  <a:gd name="T58" fmla="*/ 3707 w 5818"/>
                  <a:gd name="T59" fmla="*/ 7543 h 8845"/>
                  <a:gd name="T60" fmla="*/ 3552 w 5818"/>
                  <a:gd name="T61" fmla="*/ 7697 h 8845"/>
                  <a:gd name="T62" fmla="*/ 3241 w 5818"/>
                  <a:gd name="T63" fmla="*/ 8038 h 8845"/>
                  <a:gd name="T64" fmla="*/ 3128 w 5818"/>
                  <a:gd name="T65" fmla="*/ 8222 h 8845"/>
                  <a:gd name="T66" fmla="*/ 2986 w 5818"/>
                  <a:gd name="T67" fmla="*/ 8106 h 8845"/>
                  <a:gd name="T68" fmla="*/ 3042 w 5818"/>
                  <a:gd name="T69" fmla="*/ 8447 h 8845"/>
                  <a:gd name="T70" fmla="*/ 3114 w 5818"/>
                  <a:gd name="T71" fmla="*/ 8815 h 8845"/>
                  <a:gd name="T72" fmla="*/ 3015 w 5818"/>
                  <a:gd name="T73" fmla="*/ 8815 h 8845"/>
                  <a:gd name="T74" fmla="*/ 2336 w 5818"/>
                  <a:gd name="T75" fmla="*/ 8447 h 8845"/>
                  <a:gd name="T76" fmla="*/ 2461 w 5818"/>
                  <a:gd name="T77" fmla="*/ 8165 h 8845"/>
                  <a:gd name="T78" fmla="*/ 2349 w 5818"/>
                  <a:gd name="T79" fmla="*/ 8079 h 8845"/>
                  <a:gd name="T80" fmla="*/ 2153 w 5818"/>
                  <a:gd name="T81" fmla="*/ 7923 h 8845"/>
                  <a:gd name="T82" fmla="*/ 1613 w 5818"/>
                  <a:gd name="T83" fmla="*/ 7967 h 8845"/>
                  <a:gd name="T84" fmla="*/ 652 w 5818"/>
                  <a:gd name="T85" fmla="*/ 6778 h 8845"/>
                  <a:gd name="T86" fmla="*/ 0 w 5818"/>
                  <a:gd name="T87" fmla="*/ 6013 h 8845"/>
                  <a:gd name="T88" fmla="*/ 113 w 5818"/>
                  <a:gd name="T89" fmla="*/ 5930 h 88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5818" h="8845">
                    <a:moveTo>
                      <a:pt x="113" y="5930"/>
                    </a:moveTo>
                    <a:lnTo>
                      <a:pt x="113" y="5930"/>
                    </a:lnTo>
                    <a:cubicBezTo>
                      <a:pt x="2052" y="4557"/>
                      <a:pt x="2052" y="4557"/>
                      <a:pt x="2052" y="4557"/>
                    </a:cubicBezTo>
                    <a:cubicBezTo>
                      <a:pt x="2010" y="4513"/>
                      <a:pt x="1868" y="4415"/>
                      <a:pt x="1954" y="4359"/>
                    </a:cubicBezTo>
                    <a:cubicBezTo>
                      <a:pt x="1969" y="4373"/>
                      <a:pt x="1969" y="4359"/>
                      <a:pt x="1981" y="4373"/>
                    </a:cubicBezTo>
                    <a:cubicBezTo>
                      <a:pt x="2067" y="4317"/>
                      <a:pt x="2025" y="4160"/>
                      <a:pt x="2108" y="4089"/>
                    </a:cubicBezTo>
                    <a:cubicBezTo>
                      <a:pt x="2194" y="4006"/>
                      <a:pt x="2165" y="3934"/>
                      <a:pt x="2165" y="3834"/>
                    </a:cubicBezTo>
                    <a:cubicBezTo>
                      <a:pt x="2165" y="3736"/>
                      <a:pt x="2506" y="3863"/>
                      <a:pt x="2336" y="3581"/>
                    </a:cubicBezTo>
                    <a:cubicBezTo>
                      <a:pt x="2221" y="3410"/>
                      <a:pt x="2420" y="3425"/>
                      <a:pt x="2420" y="3268"/>
                    </a:cubicBezTo>
                    <a:cubicBezTo>
                      <a:pt x="2420" y="3184"/>
                      <a:pt x="2322" y="3155"/>
                      <a:pt x="2251" y="3128"/>
                    </a:cubicBezTo>
                    <a:cubicBezTo>
                      <a:pt x="2153" y="3072"/>
                      <a:pt x="2209" y="2844"/>
                      <a:pt x="2052" y="2775"/>
                    </a:cubicBezTo>
                    <a:cubicBezTo>
                      <a:pt x="1868" y="2675"/>
                      <a:pt x="1797" y="2802"/>
                      <a:pt x="1797" y="2505"/>
                    </a:cubicBezTo>
                    <a:cubicBezTo>
                      <a:pt x="1797" y="1459"/>
                      <a:pt x="1797" y="1459"/>
                      <a:pt x="1797" y="1459"/>
                    </a:cubicBezTo>
                    <a:cubicBezTo>
                      <a:pt x="1684" y="1358"/>
                      <a:pt x="1415" y="1346"/>
                      <a:pt x="1317" y="1162"/>
                    </a:cubicBezTo>
                    <a:cubicBezTo>
                      <a:pt x="1260" y="1047"/>
                      <a:pt x="1474" y="863"/>
                      <a:pt x="1403" y="723"/>
                    </a:cubicBezTo>
                    <a:cubicBezTo>
                      <a:pt x="1358" y="652"/>
                      <a:pt x="1444" y="495"/>
                      <a:pt x="1459" y="412"/>
                    </a:cubicBezTo>
                    <a:cubicBezTo>
                      <a:pt x="1474" y="299"/>
                      <a:pt x="1388" y="255"/>
                      <a:pt x="1302" y="172"/>
                    </a:cubicBezTo>
                    <a:cubicBezTo>
                      <a:pt x="1331" y="0"/>
                      <a:pt x="1331" y="0"/>
                      <a:pt x="1331" y="0"/>
                    </a:cubicBezTo>
                    <a:lnTo>
                      <a:pt x="1331" y="0"/>
                    </a:lnTo>
                    <a:cubicBezTo>
                      <a:pt x="3538" y="30"/>
                      <a:pt x="3538" y="30"/>
                      <a:pt x="3538" y="30"/>
                    </a:cubicBezTo>
                    <a:lnTo>
                      <a:pt x="3538" y="30"/>
                    </a:lnTo>
                    <a:cubicBezTo>
                      <a:pt x="3638" y="241"/>
                      <a:pt x="3638" y="241"/>
                      <a:pt x="3638" y="241"/>
                    </a:cubicBezTo>
                    <a:cubicBezTo>
                      <a:pt x="3793" y="326"/>
                      <a:pt x="3793" y="326"/>
                      <a:pt x="3793" y="326"/>
                    </a:cubicBezTo>
                    <a:cubicBezTo>
                      <a:pt x="3751" y="525"/>
                      <a:pt x="3751" y="525"/>
                      <a:pt x="3751" y="525"/>
                    </a:cubicBezTo>
                    <a:cubicBezTo>
                      <a:pt x="4202" y="1782"/>
                      <a:pt x="4202" y="1782"/>
                      <a:pt x="4202" y="1782"/>
                    </a:cubicBezTo>
                    <a:cubicBezTo>
                      <a:pt x="4445" y="2775"/>
                      <a:pt x="4445" y="2775"/>
                      <a:pt x="4445" y="2775"/>
                    </a:cubicBezTo>
                    <a:cubicBezTo>
                      <a:pt x="4486" y="3170"/>
                      <a:pt x="4486" y="3170"/>
                      <a:pt x="4486" y="3170"/>
                    </a:cubicBezTo>
                    <a:cubicBezTo>
                      <a:pt x="4486" y="3368"/>
                      <a:pt x="4344" y="3567"/>
                      <a:pt x="4261" y="3736"/>
                    </a:cubicBezTo>
                    <a:cubicBezTo>
                      <a:pt x="4231" y="3807"/>
                      <a:pt x="4077" y="4018"/>
                      <a:pt x="4160" y="4089"/>
                    </a:cubicBezTo>
                    <a:cubicBezTo>
                      <a:pt x="4190" y="4118"/>
                      <a:pt x="4246" y="4089"/>
                      <a:pt x="4246" y="4145"/>
                    </a:cubicBezTo>
                    <a:cubicBezTo>
                      <a:pt x="4246" y="4216"/>
                      <a:pt x="4231" y="4216"/>
                      <a:pt x="4288" y="4273"/>
                    </a:cubicBezTo>
                    <a:cubicBezTo>
                      <a:pt x="4400" y="4344"/>
                      <a:pt x="4374" y="4329"/>
                      <a:pt x="4501" y="4359"/>
                    </a:cubicBezTo>
                    <a:cubicBezTo>
                      <a:pt x="4557" y="4373"/>
                      <a:pt x="4557" y="4444"/>
                      <a:pt x="4641" y="4444"/>
                    </a:cubicBezTo>
                    <a:cubicBezTo>
                      <a:pt x="4883" y="4457"/>
                      <a:pt x="4798" y="4557"/>
                      <a:pt x="4925" y="4655"/>
                    </a:cubicBezTo>
                    <a:cubicBezTo>
                      <a:pt x="4981" y="4699"/>
                      <a:pt x="4981" y="4797"/>
                      <a:pt x="5023" y="4868"/>
                    </a:cubicBezTo>
                    <a:cubicBezTo>
                      <a:pt x="5109" y="4996"/>
                      <a:pt x="4996" y="5136"/>
                      <a:pt x="5053" y="5263"/>
                    </a:cubicBezTo>
                    <a:cubicBezTo>
                      <a:pt x="5079" y="5334"/>
                      <a:pt x="5151" y="5319"/>
                      <a:pt x="5207" y="5334"/>
                    </a:cubicBezTo>
                    <a:cubicBezTo>
                      <a:pt x="5278" y="5364"/>
                      <a:pt x="5293" y="5435"/>
                      <a:pt x="5349" y="5476"/>
                    </a:cubicBezTo>
                    <a:cubicBezTo>
                      <a:pt x="5364" y="5503"/>
                      <a:pt x="5379" y="5533"/>
                      <a:pt x="5420" y="5562"/>
                    </a:cubicBezTo>
                    <a:cubicBezTo>
                      <a:pt x="5491" y="5604"/>
                      <a:pt x="5518" y="5574"/>
                      <a:pt x="5518" y="5675"/>
                    </a:cubicBezTo>
                    <a:cubicBezTo>
                      <a:pt x="5518" y="5773"/>
                      <a:pt x="5660" y="5758"/>
                      <a:pt x="5687" y="5829"/>
                    </a:cubicBezTo>
                    <a:cubicBezTo>
                      <a:pt x="5702" y="5915"/>
                      <a:pt x="5702" y="5971"/>
                      <a:pt x="5788" y="6028"/>
                    </a:cubicBezTo>
                    <a:lnTo>
                      <a:pt x="5788" y="6028"/>
                    </a:lnTo>
                    <a:cubicBezTo>
                      <a:pt x="5773" y="6042"/>
                      <a:pt x="5758" y="6069"/>
                      <a:pt x="5746" y="6084"/>
                    </a:cubicBezTo>
                    <a:cubicBezTo>
                      <a:pt x="5817" y="6155"/>
                      <a:pt x="5817" y="6155"/>
                      <a:pt x="5817" y="6155"/>
                    </a:cubicBezTo>
                    <a:lnTo>
                      <a:pt x="5817" y="6155"/>
                    </a:lnTo>
                    <a:cubicBezTo>
                      <a:pt x="5803" y="6170"/>
                      <a:pt x="5788" y="6241"/>
                      <a:pt x="5758" y="6253"/>
                    </a:cubicBezTo>
                    <a:cubicBezTo>
                      <a:pt x="5732" y="6253"/>
                      <a:pt x="5687" y="6253"/>
                      <a:pt x="5660" y="6268"/>
                    </a:cubicBezTo>
                    <a:cubicBezTo>
                      <a:pt x="5575" y="6297"/>
                      <a:pt x="5548" y="6381"/>
                      <a:pt x="5518" y="6452"/>
                    </a:cubicBezTo>
                    <a:cubicBezTo>
                      <a:pt x="5462" y="6650"/>
                      <a:pt x="5278" y="6339"/>
                      <a:pt x="5109" y="6523"/>
                    </a:cubicBezTo>
                    <a:cubicBezTo>
                      <a:pt x="5079" y="6550"/>
                      <a:pt x="5094" y="6621"/>
                      <a:pt x="5053" y="6650"/>
                    </a:cubicBezTo>
                    <a:cubicBezTo>
                      <a:pt x="5008" y="6692"/>
                      <a:pt x="4981" y="6692"/>
                      <a:pt x="4952" y="6748"/>
                    </a:cubicBezTo>
                    <a:cubicBezTo>
                      <a:pt x="4910" y="6820"/>
                      <a:pt x="4940" y="6820"/>
                      <a:pt x="4854" y="6849"/>
                    </a:cubicBezTo>
                    <a:cubicBezTo>
                      <a:pt x="4839" y="6849"/>
                      <a:pt x="4798" y="6905"/>
                      <a:pt x="4768" y="6920"/>
                    </a:cubicBezTo>
                    <a:cubicBezTo>
                      <a:pt x="4712" y="6932"/>
                      <a:pt x="4685" y="7018"/>
                      <a:pt x="4641" y="7033"/>
                    </a:cubicBezTo>
                    <a:cubicBezTo>
                      <a:pt x="4584" y="7060"/>
                      <a:pt x="4543" y="7003"/>
                      <a:pt x="4486" y="7018"/>
                    </a:cubicBezTo>
                    <a:cubicBezTo>
                      <a:pt x="4400" y="7033"/>
                      <a:pt x="4231" y="7131"/>
                      <a:pt x="4202" y="7217"/>
                    </a:cubicBezTo>
                    <a:cubicBezTo>
                      <a:pt x="4160" y="7315"/>
                      <a:pt x="4104" y="7258"/>
                      <a:pt x="4077" y="7359"/>
                    </a:cubicBezTo>
                    <a:cubicBezTo>
                      <a:pt x="4033" y="7513"/>
                      <a:pt x="3920" y="7427"/>
                      <a:pt x="3822" y="7442"/>
                    </a:cubicBezTo>
                    <a:cubicBezTo>
                      <a:pt x="3736" y="7457"/>
                      <a:pt x="3751" y="7528"/>
                      <a:pt x="3707" y="7543"/>
                    </a:cubicBezTo>
                    <a:cubicBezTo>
                      <a:pt x="3609" y="7570"/>
                      <a:pt x="3638" y="7555"/>
                      <a:pt x="3594" y="7641"/>
                    </a:cubicBezTo>
                    <a:cubicBezTo>
                      <a:pt x="3594" y="7668"/>
                      <a:pt x="3552" y="7682"/>
                      <a:pt x="3552" y="7697"/>
                    </a:cubicBezTo>
                    <a:cubicBezTo>
                      <a:pt x="3552" y="7795"/>
                      <a:pt x="3440" y="7851"/>
                      <a:pt x="3440" y="7881"/>
                    </a:cubicBezTo>
                    <a:cubicBezTo>
                      <a:pt x="3398" y="7910"/>
                      <a:pt x="3283" y="7994"/>
                      <a:pt x="3241" y="8038"/>
                    </a:cubicBezTo>
                    <a:cubicBezTo>
                      <a:pt x="3185" y="8106"/>
                      <a:pt x="3297" y="8165"/>
                      <a:pt x="3226" y="8192"/>
                    </a:cubicBezTo>
                    <a:cubicBezTo>
                      <a:pt x="3214" y="8192"/>
                      <a:pt x="3128" y="8222"/>
                      <a:pt x="3128" y="8222"/>
                    </a:cubicBezTo>
                    <a:lnTo>
                      <a:pt x="3114" y="8222"/>
                    </a:lnTo>
                    <a:cubicBezTo>
                      <a:pt x="3099" y="8192"/>
                      <a:pt x="3042" y="8079"/>
                      <a:pt x="2986" y="8106"/>
                    </a:cubicBezTo>
                    <a:cubicBezTo>
                      <a:pt x="2915" y="8151"/>
                      <a:pt x="2971" y="8290"/>
                      <a:pt x="3028" y="8305"/>
                    </a:cubicBezTo>
                    <a:cubicBezTo>
                      <a:pt x="3028" y="8361"/>
                      <a:pt x="3028" y="8391"/>
                      <a:pt x="3042" y="8447"/>
                    </a:cubicBezTo>
                    <a:cubicBezTo>
                      <a:pt x="3072" y="8518"/>
                      <a:pt x="3042" y="8530"/>
                      <a:pt x="3057" y="8575"/>
                    </a:cubicBezTo>
                    <a:cubicBezTo>
                      <a:pt x="3072" y="8646"/>
                      <a:pt x="3226" y="8744"/>
                      <a:pt x="3114" y="8815"/>
                    </a:cubicBezTo>
                    <a:cubicBezTo>
                      <a:pt x="3114" y="8815"/>
                      <a:pt x="3057" y="8844"/>
                      <a:pt x="3042" y="8830"/>
                    </a:cubicBezTo>
                    <a:lnTo>
                      <a:pt x="3015" y="8815"/>
                    </a:lnTo>
                    <a:cubicBezTo>
                      <a:pt x="2944" y="8815"/>
                      <a:pt x="2915" y="8785"/>
                      <a:pt x="2859" y="8773"/>
                    </a:cubicBezTo>
                    <a:cubicBezTo>
                      <a:pt x="2660" y="8673"/>
                      <a:pt x="2533" y="8518"/>
                      <a:pt x="2336" y="8447"/>
                    </a:cubicBezTo>
                    <a:cubicBezTo>
                      <a:pt x="2265" y="8418"/>
                      <a:pt x="2378" y="8376"/>
                      <a:pt x="2393" y="8347"/>
                    </a:cubicBezTo>
                    <a:cubicBezTo>
                      <a:pt x="2461" y="8278"/>
                      <a:pt x="2476" y="8278"/>
                      <a:pt x="2461" y="8165"/>
                    </a:cubicBezTo>
                    <a:cubicBezTo>
                      <a:pt x="2449" y="8106"/>
                      <a:pt x="2506" y="8094"/>
                      <a:pt x="2506" y="8065"/>
                    </a:cubicBezTo>
                    <a:cubicBezTo>
                      <a:pt x="2506" y="8008"/>
                      <a:pt x="2363" y="8050"/>
                      <a:pt x="2349" y="8079"/>
                    </a:cubicBezTo>
                    <a:cubicBezTo>
                      <a:pt x="2322" y="8079"/>
                      <a:pt x="2363" y="7937"/>
                      <a:pt x="2349" y="7923"/>
                    </a:cubicBezTo>
                    <a:cubicBezTo>
                      <a:pt x="2322" y="7881"/>
                      <a:pt x="2194" y="7923"/>
                      <a:pt x="2153" y="7923"/>
                    </a:cubicBezTo>
                    <a:cubicBezTo>
                      <a:pt x="2108" y="7923"/>
                      <a:pt x="2052" y="7866"/>
                      <a:pt x="2025" y="7851"/>
                    </a:cubicBezTo>
                    <a:cubicBezTo>
                      <a:pt x="1613" y="7967"/>
                      <a:pt x="1613" y="7967"/>
                      <a:pt x="1613" y="7967"/>
                    </a:cubicBezTo>
                    <a:cubicBezTo>
                      <a:pt x="851" y="7937"/>
                      <a:pt x="851" y="7937"/>
                      <a:pt x="851" y="7937"/>
                    </a:cubicBezTo>
                    <a:cubicBezTo>
                      <a:pt x="652" y="6778"/>
                      <a:pt x="652" y="6778"/>
                      <a:pt x="652" y="6778"/>
                    </a:cubicBezTo>
                    <a:cubicBezTo>
                      <a:pt x="15" y="6692"/>
                      <a:pt x="15" y="6692"/>
                      <a:pt x="15" y="6692"/>
                    </a:cubicBezTo>
                    <a:cubicBezTo>
                      <a:pt x="0" y="6013"/>
                      <a:pt x="0" y="6013"/>
                      <a:pt x="0" y="6013"/>
                    </a:cubicBezTo>
                    <a:cubicBezTo>
                      <a:pt x="113" y="6028"/>
                      <a:pt x="113" y="6028"/>
                      <a:pt x="113" y="6028"/>
                    </a:cubicBezTo>
                    <a:cubicBezTo>
                      <a:pt x="113" y="5930"/>
                      <a:pt x="113" y="5930"/>
                      <a:pt x="113" y="5930"/>
                    </a:cubicBezTo>
                  </a:path>
                </a:pathLst>
              </a:custGeom>
              <a:solidFill>
                <a:schemeClr val="accent5"/>
              </a:solidFill>
              <a:ln w="28575" cap="flat" cmpd="sng">
                <a:solidFill>
                  <a:schemeClr val="bg1"/>
                </a:solidFill>
                <a:bevel/>
                <a:headEnd/>
                <a:tailEnd/>
              </a:ln>
              <a:effectLst/>
              <a:extLst/>
            </p:spPr>
            <p:txBody>
              <a:bodyPr wrap="none" lIns="45720" tIns="22860" rIns="45720" bIns="22860" anchor="ctr"/>
              <a:lstStyle/>
              <a:p>
                <a:endParaRPr lang="en-US" sz="1400" dirty="0">
                  <a:latin typeface="Lato Light" charset="0"/>
                </a:endParaRPr>
              </a:p>
            </p:txBody>
          </p:sp>
          <p:grpSp>
            <p:nvGrpSpPr>
              <p:cNvPr id="34" name="Группа 33"/>
              <p:cNvGrpSpPr/>
              <p:nvPr/>
            </p:nvGrpSpPr>
            <p:grpSpPr>
              <a:xfrm>
                <a:off x="5318489" y="1895004"/>
                <a:ext cx="7087699" cy="3737035"/>
                <a:chOff x="5318489" y="1895004"/>
                <a:chExt cx="7087699" cy="3737035"/>
              </a:xfrm>
              <a:grpFill/>
            </p:grpSpPr>
            <p:sp>
              <p:nvSpPr>
                <p:cNvPr id="36" name="Freeform 1"/>
                <p:cNvSpPr>
                  <a:spLocks noChangeArrowheads="1"/>
                </p:cNvSpPr>
                <p:nvPr/>
              </p:nvSpPr>
              <p:spPr bwMode="auto">
                <a:xfrm>
                  <a:off x="5318489" y="3503861"/>
                  <a:ext cx="2243561" cy="2128178"/>
                </a:xfrm>
                <a:custGeom>
                  <a:avLst/>
                  <a:gdLst>
                    <a:gd name="T0" fmla="*/ 6239 w 12579"/>
                    <a:gd name="T1" fmla="*/ 9549 h 10879"/>
                    <a:gd name="T2" fmla="*/ 7724 w 12579"/>
                    <a:gd name="T3" fmla="*/ 7892 h 10879"/>
                    <a:gd name="T4" fmla="*/ 8317 w 12579"/>
                    <a:gd name="T5" fmla="*/ 7299 h 10879"/>
                    <a:gd name="T6" fmla="*/ 9960 w 12579"/>
                    <a:gd name="T7" fmla="*/ 6196 h 10879"/>
                    <a:gd name="T8" fmla="*/ 10497 w 12579"/>
                    <a:gd name="T9" fmla="*/ 6748 h 10879"/>
                    <a:gd name="T10" fmla="*/ 10979 w 12579"/>
                    <a:gd name="T11" fmla="*/ 7427 h 10879"/>
                    <a:gd name="T12" fmla="*/ 12534 w 12579"/>
                    <a:gd name="T13" fmla="*/ 6253 h 10879"/>
                    <a:gd name="T14" fmla="*/ 12323 w 12579"/>
                    <a:gd name="T15" fmla="*/ 5885 h 10879"/>
                    <a:gd name="T16" fmla="*/ 12097 w 12579"/>
                    <a:gd name="T17" fmla="*/ 5503 h 10879"/>
                    <a:gd name="T18" fmla="*/ 11602 w 12579"/>
                    <a:gd name="T19" fmla="*/ 4922 h 10879"/>
                    <a:gd name="T20" fmla="*/ 11261 w 12579"/>
                    <a:gd name="T21" fmla="*/ 4355 h 10879"/>
                    <a:gd name="T22" fmla="*/ 10695 w 12579"/>
                    <a:gd name="T23" fmla="*/ 4130 h 10879"/>
                    <a:gd name="T24" fmla="*/ 10470 w 12579"/>
                    <a:gd name="T25" fmla="*/ 3436 h 10879"/>
                    <a:gd name="T26" fmla="*/ 10639 w 12579"/>
                    <a:gd name="T27" fmla="*/ 2588 h 10879"/>
                    <a:gd name="T28" fmla="*/ 10680 w 12579"/>
                    <a:gd name="T29" fmla="*/ 1669 h 10879"/>
                    <a:gd name="T30" fmla="*/ 10271 w 12579"/>
                    <a:gd name="T31" fmla="*/ 889 h 10879"/>
                    <a:gd name="T32" fmla="*/ 10215 w 12579"/>
                    <a:gd name="T33" fmla="*/ 367 h 10879"/>
                    <a:gd name="T34" fmla="*/ 9705 w 12579"/>
                    <a:gd name="T35" fmla="*/ 56 h 10879"/>
                    <a:gd name="T36" fmla="*/ 9465 w 12579"/>
                    <a:gd name="T37" fmla="*/ 154 h 10879"/>
                    <a:gd name="T38" fmla="*/ 7994 w 12579"/>
                    <a:gd name="T39" fmla="*/ 1201 h 10879"/>
                    <a:gd name="T40" fmla="*/ 7668 w 12579"/>
                    <a:gd name="T41" fmla="*/ 862 h 10879"/>
                    <a:gd name="T42" fmla="*/ 7484 w 12579"/>
                    <a:gd name="T43" fmla="*/ 1287 h 10879"/>
                    <a:gd name="T44" fmla="*/ 7030 w 12579"/>
                    <a:gd name="T45" fmla="*/ 1456 h 10879"/>
                    <a:gd name="T46" fmla="*/ 6861 w 12579"/>
                    <a:gd name="T47" fmla="*/ 1245 h 10879"/>
                    <a:gd name="T48" fmla="*/ 6069 w 12579"/>
                    <a:gd name="T49" fmla="*/ 806 h 10879"/>
                    <a:gd name="T50" fmla="*/ 5729 w 12579"/>
                    <a:gd name="T51" fmla="*/ 438 h 10879"/>
                    <a:gd name="T52" fmla="*/ 5489 w 12579"/>
                    <a:gd name="T53" fmla="*/ 424 h 10879"/>
                    <a:gd name="T54" fmla="*/ 5035 w 12579"/>
                    <a:gd name="T55" fmla="*/ 323 h 10879"/>
                    <a:gd name="T56" fmla="*/ 4836 w 12579"/>
                    <a:gd name="T57" fmla="*/ 706 h 10879"/>
                    <a:gd name="T58" fmla="*/ 3917 w 12579"/>
                    <a:gd name="T59" fmla="*/ 465 h 10879"/>
                    <a:gd name="T60" fmla="*/ 3422 w 12579"/>
                    <a:gd name="T61" fmla="*/ 495 h 10879"/>
                    <a:gd name="T62" fmla="*/ 3125 w 12579"/>
                    <a:gd name="T63" fmla="*/ 720 h 10879"/>
                    <a:gd name="T64" fmla="*/ 2405 w 12579"/>
                    <a:gd name="T65" fmla="*/ 1328 h 10879"/>
                    <a:gd name="T66" fmla="*/ 1839 w 12579"/>
                    <a:gd name="T67" fmla="*/ 875 h 10879"/>
                    <a:gd name="T68" fmla="*/ 1302 w 12579"/>
                    <a:gd name="T69" fmla="*/ 536 h 10879"/>
                    <a:gd name="T70" fmla="*/ 1231 w 12579"/>
                    <a:gd name="T71" fmla="*/ 1429 h 10879"/>
                    <a:gd name="T72" fmla="*/ 1088 w 12579"/>
                    <a:gd name="T73" fmla="*/ 1613 h 10879"/>
                    <a:gd name="T74" fmla="*/ 1186 w 12579"/>
                    <a:gd name="T75" fmla="*/ 2206 h 10879"/>
                    <a:gd name="T76" fmla="*/ 1103 w 12579"/>
                    <a:gd name="T77" fmla="*/ 2970 h 10879"/>
                    <a:gd name="T78" fmla="*/ 507 w 12579"/>
                    <a:gd name="T79" fmla="*/ 3054 h 10879"/>
                    <a:gd name="T80" fmla="*/ 0 w 12579"/>
                    <a:gd name="T81" fmla="*/ 3762 h 10879"/>
                    <a:gd name="T82" fmla="*/ 297 w 12579"/>
                    <a:gd name="T83" fmla="*/ 3804 h 10879"/>
                    <a:gd name="T84" fmla="*/ 593 w 12579"/>
                    <a:gd name="T85" fmla="*/ 4172 h 10879"/>
                    <a:gd name="T86" fmla="*/ 748 w 12579"/>
                    <a:gd name="T87" fmla="*/ 4539 h 10879"/>
                    <a:gd name="T88" fmla="*/ 1385 w 12579"/>
                    <a:gd name="T89" fmla="*/ 4412 h 10879"/>
                    <a:gd name="T90" fmla="*/ 1726 w 12579"/>
                    <a:gd name="T91" fmla="*/ 5559 h 10879"/>
                    <a:gd name="T92" fmla="*/ 1711 w 12579"/>
                    <a:gd name="T93" fmla="*/ 7341 h 10879"/>
                    <a:gd name="T94" fmla="*/ 2049 w 12579"/>
                    <a:gd name="T95" fmla="*/ 7934 h 10879"/>
                    <a:gd name="T96" fmla="*/ 3351 w 12579"/>
                    <a:gd name="T97" fmla="*/ 9067 h 10879"/>
                    <a:gd name="T98" fmla="*/ 3523 w 12579"/>
                    <a:gd name="T99" fmla="*/ 9434 h 10879"/>
                    <a:gd name="T100" fmla="*/ 5984 w 12579"/>
                    <a:gd name="T101" fmla="*/ 10157 h 10879"/>
                    <a:gd name="T102" fmla="*/ 6111 w 12579"/>
                    <a:gd name="T103" fmla="*/ 9746 h 108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2579" h="10879">
                      <a:moveTo>
                        <a:pt x="6111" y="9746"/>
                      </a:moveTo>
                      <a:lnTo>
                        <a:pt x="6111" y="9746"/>
                      </a:lnTo>
                      <a:cubicBezTo>
                        <a:pt x="6239" y="9549"/>
                        <a:pt x="6239" y="9549"/>
                        <a:pt x="6239" y="9549"/>
                      </a:cubicBezTo>
                      <a:cubicBezTo>
                        <a:pt x="6565" y="9407"/>
                        <a:pt x="6565" y="9407"/>
                        <a:pt x="6565" y="9407"/>
                      </a:cubicBezTo>
                      <a:cubicBezTo>
                        <a:pt x="7427" y="8204"/>
                        <a:pt x="7427" y="8204"/>
                        <a:pt x="7427" y="8204"/>
                      </a:cubicBezTo>
                      <a:cubicBezTo>
                        <a:pt x="7724" y="7892"/>
                        <a:pt x="7724" y="7892"/>
                        <a:pt x="7724" y="7892"/>
                      </a:cubicBezTo>
                      <a:cubicBezTo>
                        <a:pt x="8077" y="7836"/>
                        <a:pt x="8077" y="7836"/>
                        <a:pt x="8077" y="7836"/>
                      </a:cubicBezTo>
                      <a:cubicBezTo>
                        <a:pt x="8121" y="7228"/>
                        <a:pt x="8121" y="7228"/>
                        <a:pt x="8121" y="7228"/>
                      </a:cubicBezTo>
                      <a:cubicBezTo>
                        <a:pt x="8317" y="7299"/>
                        <a:pt x="8317" y="7299"/>
                        <a:pt x="8317" y="7299"/>
                      </a:cubicBezTo>
                      <a:cubicBezTo>
                        <a:pt x="8786" y="7299"/>
                        <a:pt x="8786" y="7299"/>
                        <a:pt x="8786" y="7299"/>
                      </a:cubicBezTo>
                      <a:cubicBezTo>
                        <a:pt x="9210" y="6253"/>
                        <a:pt x="9210" y="6253"/>
                        <a:pt x="9210" y="6253"/>
                      </a:cubicBezTo>
                      <a:cubicBezTo>
                        <a:pt x="9960" y="6196"/>
                        <a:pt x="9960" y="6196"/>
                        <a:pt x="9960" y="6196"/>
                      </a:cubicBezTo>
                      <a:cubicBezTo>
                        <a:pt x="10144" y="6422"/>
                        <a:pt x="10144" y="6422"/>
                        <a:pt x="10144" y="6422"/>
                      </a:cubicBezTo>
                      <a:cubicBezTo>
                        <a:pt x="10327" y="6733"/>
                        <a:pt x="10327" y="6733"/>
                        <a:pt x="10327" y="6733"/>
                      </a:cubicBezTo>
                      <a:cubicBezTo>
                        <a:pt x="10497" y="6748"/>
                        <a:pt x="10497" y="6748"/>
                        <a:pt x="10497" y="6748"/>
                      </a:cubicBezTo>
                      <a:cubicBezTo>
                        <a:pt x="10710" y="7030"/>
                        <a:pt x="10710" y="7030"/>
                        <a:pt x="10710" y="7030"/>
                      </a:cubicBezTo>
                      <a:cubicBezTo>
                        <a:pt x="10766" y="7341"/>
                        <a:pt x="10766" y="7341"/>
                        <a:pt x="10766" y="7341"/>
                      </a:cubicBezTo>
                      <a:cubicBezTo>
                        <a:pt x="10979" y="7427"/>
                        <a:pt x="10979" y="7427"/>
                        <a:pt x="10979" y="7427"/>
                      </a:cubicBezTo>
                      <a:lnTo>
                        <a:pt x="10979" y="7427"/>
                      </a:lnTo>
                      <a:cubicBezTo>
                        <a:pt x="11404" y="7115"/>
                        <a:pt x="11404" y="7115"/>
                        <a:pt x="11404" y="7115"/>
                      </a:cubicBezTo>
                      <a:cubicBezTo>
                        <a:pt x="12534" y="6253"/>
                        <a:pt x="12534" y="6253"/>
                        <a:pt x="12534" y="6253"/>
                      </a:cubicBezTo>
                      <a:cubicBezTo>
                        <a:pt x="12578" y="6137"/>
                        <a:pt x="12578" y="6137"/>
                        <a:pt x="12578" y="6137"/>
                      </a:cubicBezTo>
                      <a:cubicBezTo>
                        <a:pt x="12421" y="6012"/>
                        <a:pt x="12421" y="6012"/>
                        <a:pt x="12421" y="6012"/>
                      </a:cubicBezTo>
                      <a:cubicBezTo>
                        <a:pt x="12323" y="5885"/>
                        <a:pt x="12323" y="5885"/>
                        <a:pt x="12323" y="5885"/>
                      </a:cubicBezTo>
                      <a:cubicBezTo>
                        <a:pt x="12237" y="5672"/>
                        <a:pt x="12237" y="5672"/>
                        <a:pt x="12237" y="5672"/>
                      </a:cubicBezTo>
                      <a:lnTo>
                        <a:pt x="12237" y="5672"/>
                      </a:lnTo>
                      <a:cubicBezTo>
                        <a:pt x="12097" y="5503"/>
                        <a:pt x="12097" y="5503"/>
                        <a:pt x="12097" y="5503"/>
                      </a:cubicBezTo>
                      <a:cubicBezTo>
                        <a:pt x="12053" y="5390"/>
                        <a:pt x="12053" y="5390"/>
                        <a:pt x="12053" y="5390"/>
                      </a:cubicBezTo>
                      <a:cubicBezTo>
                        <a:pt x="11982" y="5289"/>
                        <a:pt x="11967" y="5150"/>
                        <a:pt x="11899" y="5049"/>
                      </a:cubicBezTo>
                      <a:cubicBezTo>
                        <a:pt x="11813" y="4951"/>
                        <a:pt x="11671" y="5034"/>
                        <a:pt x="11602" y="4922"/>
                      </a:cubicBezTo>
                      <a:cubicBezTo>
                        <a:pt x="11558" y="4824"/>
                        <a:pt x="11558" y="4779"/>
                        <a:pt x="11445" y="4738"/>
                      </a:cubicBezTo>
                      <a:cubicBezTo>
                        <a:pt x="11389" y="4696"/>
                        <a:pt x="11276" y="4667"/>
                        <a:pt x="11232" y="4596"/>
                      </a:cubicBezTo>
                      <a:cubicBezTo>
                        <a:pt x="11163" y="4498"/>
                        <a:pt x="11288" y="4426"/>
                        <a:pt x="11261" y="4355"/>
                      </a:cubicBezTo>
                      <a:cubicBezTo>
                        <a:pt x="11247" y="4314"/>
                        <a:pt x="11176" y="4287"/>
                        <a:pt x="11149" y="4243"/>
                      </a:cubicBezTo>
                      <a:cubicBezTo>
                        <a:pt x="11104" y="4186"/>
                        <a:pt x="10965" y="4299"/>
                        <a:pt x="10921" y="4328"/>
                      </a:cubicBezTo>
                      <a:cubicBezTo>
                        <a:pt x="10823" y="4355"/>
                        <a:pt x="10737" y="4201"/>
                        <a:pt x="10695" y="4130"/>
                      </a:cubicBezTo>
                      <a:cubicBezTo>
                        <a:pt x="10624" y="4017"/>
                        <a:pt x="10568" y="3789"/>
                        <a:pt x="10440" y="3733"/>
                      </a:cubicBezTo>
                      <a:cubicBezTo>
                        <a:pt x="10357" y="3691"/>
                        <a:pt x="10342" y="3605"/>
                        <a:pt x="10440" y="3605"/>
                      </a:cubicBezTo>
                      <a:cubicBezTo>
                        <a:pt x="10609" y="3605"/>
                        <a:pt x="10497" y="3534"/>
                        <a:pt x="10470" y="3436"/>
                      </a:cubicBezTo>
                      <a:cubicBezTo>
                        <a:pt x="10440" y="3365"/>
                        <a:pt x="10215" y="3125"/>
                        <a:pt x="10425" y="3125"/>
                      </a:cubicBezTo>
                      <a:cubicBezTo>
                        <a:pt x="10639" y="3140"/>
                        <a:pt x="10413" y="2941"/>
                        <a:pt x="10568" y="2799"/>
                      </a:cubicBezTo>
                      <a:cubicBezTo>
                        <a:pt x="10666" y="2716"/>
                        <a:pt x="10582" y="2659"/>
                        <a:pt x="10639" y="2588"/>
                      </a:cubicBezTo>
                      <a:cubicBezTo>
                        <a:pt x="10666" y="2546"/>
                        <a:pt x="10837" y="2431"/>
                        <a:pt x="10879" y="2461"/>
                      </a:cubicBezTo>
                      <a:cubicBezTo>
                        <a:pt x="11119" y="2573"/>
                        <a:pt x="10992" y="2191"/>
                        <a:pt x="10921" y="2093"/>
                      </a:cubicBezTo>
                      <a:cubicBezTo>
                        <a:pt x="10766" y="1965"/>
                        <a:pt x="10823" y="1796"/>
                        <a:pt x="10680" y="1669"/>
                      </a:cubicBezTo>
                      <a:cubicBezTo>
                        <a:pt x="10541" y="1541"/>
                        <a:pt x="10440" y="1358"/>
                        <a:pt x="10413" y="1174"/>
                      </a:cubicBezTo>
                      <a:cubicBezTo>
                        <a:pt x="10384" y="990"/>
                        <a:pt x="10173" y="1201"/>
                        <a:pt x="10158" y="1061"/>
                      </a:cubicBezTo>
                      <a:cubicBezTo>
                        <a:pt x="10144" y="960"/>
                        <a:pt x="10242" y="946"/>
                        <a:pt x="10271" y="889"/>
                      </a:cubicBezTo>
                      <a:cubicBezTo>
                        <a:pt x="10298" y="889"/>
                        <a:pt x="10413" y="818"/>
                        <a:pt x="10398" y="777"/>
                      </a:cubicBezTo>
                      <a:cubicBezTo>
                        <a:pt x="10342" y="735"/>
                        <a:pt x="10256" y="679"/>
                        <a:pt x="10215" y="622"/>
                      </a:cubicBezTo>
                      <a:cubicBezTo>
                        <a:pt x="10129" y="522"/>
                        <a:pt x="10271" y="451"/>
                        <a:pt x="10215" y="367"/>
                      </a:cubicBezTo>
                      <a:cubicBezTo>
                        <a:pt x="10173" y="311"/>
                        <a:pt x="10158" y="267"/>
                        <a:pt x="10087" y="296"/>
                      </a:cubicBezTo>
                      <a:cubicBezTo>
                        <a:pt x="9987" y="338"/>
                        <a:pt x="9945" y="465"/>
                        <a:pt x="9874" y="323"/>
                      </a:cubicBezTo>
                      <a:cubicBezTo>
                        <a:pt x="9832" y="240"/>
                        <a:pt x="9847" y="0"/>
                        <a:pt x="9705" y="56"/>
                      </a:cubicBezTo>
                      <a:cubicBezTo>
                        <a:pt x="9577" y="112"/>
                        <a:pt x="9577" y="112"/>
                        <a:pt x="9577" y="112"/>
                      </a:cubicBezTo>
                      <a:lnTo>
                        <a:pt x="9577" y="112"/>
                      </a:lnTo>
                      <a:cubicBezTo>
                        <a:pt x="9465" y="154"/>
                        <a:pt x="9465" y="154"/>
                        <a:pt x="9465" y="154"/>
                      </a:cubicBezTo>
                      <a:cubicBezTo>
                        <a:pt x="9322" y="946"/>
                        <a:pt x="9322" y="946"/>
                        <a:pt x="9322" y="946"/>
                      </a:cubicBezTo>
                      <a:cubicBezTo>
                        <a:pt x="8587" y="1245"/>
                        <a:pt x="8587" y="1245"/>
                        <a:pt x="8587" y="1245"/>
                      </a:cubicBezTo>
                      <a:cubicBezTo>
                        <a:pt x="7994" y="1201"/>
                        <a:pt x="7994" y="1201"/>
                        <a:pt x="7994" y="1201"/>
                      </a:cubicBezTo>
                      <a:cubicBezTo>
                        <a:pt x="7810" y="975"/>
                        <a:pt x="7810" y="975"/>
                        <a:pt x="7810" y="975"/>
                      </a:cubicBezTo>
                      <a:cubicBezTo>
                        <a:pt x="7837" y="889"/>
                        <a:pt x="7837" y="889"/>
                        <a:pt x="7837" y="889"/>
                      </a:cubicBezTo>
                      <a:cubicBezTo>
                        <a:pt x="7668" y="862"/>
                        <a:pt x="7668" y="862"/>
                        <a:pt x="7668" y="862"/>
                      </a:cubicBezTo>
                      <a:cubicBezTo>
                        <a:pt x="7597" y="1005"/>
                        <a:pt x="7597" y="1005"/>
                        <a:pt x="7597" y="1005"/>
                      </a:cubicBezTo>
                      <a:cubicBezTo>
                        <a:pt x="7597" y="1073"/>
                        <a:pt x="7626" y="1117"/>
                        <a:pt x="7611" y="1174"/>
                      </a:cubicBezTo>
                      <a:cubicBezTo>
                        <a:pt x="7611" y="1201"/>
                        <a:pt x="7511" y="1272"/>
                        <a:pt x="7484" y="1287"/>
                      </a:cubicBezTo>
                      <a:cubicBezTo>
                        <a:pt x="7383" y="1399"/>
                        <a:pt x="7398" y="1497"/>
                        <a:pt x="7229" y="1441"/>
                      </a:cubicBezTo>
                      <a:cubicBezTo>
                        <a:pt x="7200" y="1429"/>
                        <a:pt x="7060" y="1470"/>
                        <a:pt x="7045" y="1497"/>
                      </a:cubicBezTo>
                      <a:cubicBezTo>
                        <a:pt x="7030" y="1497"/>
                        <a:pt x="7045" y="1470"/>
                        <a:pt x="7030" y="1456"/>
                      </a:cubicBezTo>
                      <a:cubicBezTo>
                        <a:pt x="7030" y="1429"/>
                        <a:pt x="7003" y="1429"/>
                        <a:pt x="6974" y="1414"/>
                      </a:cubicBezTo>
                      <a:cubicBezTo>
                        <a:pt x="7016" y="1370"/>
                        <a:pt x="7143" y="1370"/>
                        <a:pt x="7060" y="1313"/>
                      </a:cubicBezTo>
                      <a:cubicBezTo>
                        <a:pt x="7003" y="1287"/>
                        <a:pt x="6932" y="1245"/>
                        <a:pt x="6861" y="1245"/>
                      </a:cubicBezTo>
                      <a:cubicBezTo>
                        <a:pt x="6719" y="1245"/>
                        <a:pt x="6494" y="1201"/>
                        <a:pt x="6351" y="1144"/>
                      </a:cubicBezTo>
                      <a:cubicBezTo>
                        <a:pt x="6239" y="1103"/>
                        <a:pt x="6209" y="946"/>
                        <a:pt x="6111" y="946"/>
                      </a:cubicBezTo>
                      <a:cubicBezTo>
                        <a:pt x="5984" y="960"/>
                        <a:pt x="6082" y="875"/>
                        <a:pt x="6069" y="806"/>
                      </a:cubicBezTo>
                      <a:cubicBezTo>
                        <a:pt x="5984" y="806"/>
                        <a:pt x="5969" y="862"/>
                        <a:pt x="5954" y="762"/>
                      </a:cubicBezTo>
                      <a:cubicBezTo>
                        <a:pt x="5942" y="720"/>
                        <a:pt x="5954" y="649"/>
                        <a:pt x="5984" y="622"/>
                      </a:cubicBezTo>
                      <a:cubicBezTo>
                        <a:pt x="6096" y="507"/>
                        <a:pt x="5770" y="451"/>
                        <a:pt x="5729" y="438"/>
                      </a:cubicBezTo>
                      <a:cubicBezTo>
                        <a:pt x="5672" y="252"/>
                        <a:pt x="5672" y="252"/>
                        <a:pt x="5672" y="252"/>
                      </a:cubicBezTo>
                      <a:cubicBezTo>
                        <a:pt x="5645" y="282"/>
                        <a:pt x="5616" y="323"/>
                        <a:pt x="5574" y="323"/>
                      </a:cubicBezTo>
                      <a:cubicBezTo>
                        <a:pt x="5530" y="323"/>
                        <a:pt x="5503" y="382"/>
                        <a:pt x="5489" y="424"/>
                      </a:cubicBezTo>
                      <a:cubicBezTo>
                        <a:pt x="5474" y="480"/>
                        <a:pt x="5403" y="522"/>
                        <a:pt x="5361" y="438"/>
                      </a:cubicBezTo>
                      <a:cubicBezTo>
                        <a:pt x="5305" y="296"/>
                        <a:pt x="5290" y="409"/>
                        <a:pt x="5177" y="382"/>
                      </a:cubicBezTo>
                      <a:cubicBezTo>
                        <a:pt x="5091" y="353"/>
                        <a:pt x="5106" y="353"/>
                        <a:pt x="5035" y="323"/>
                      </a:cubicBezTo>
                      <a:cubicBezTo>
                        <a:pt x="5023" y="323"/>
                        <a:pt x="5008" y="323"/>
                        <a:pt x="4993" y="323"/>
                      </a:cubicBezTo>
                      <a:cubicBezTo>
                        <a:pt x="4979" y="720"/>
                        <a:pt x="4979" y="720"/>
                        <a:pt x="4979" y="720"/>
                      </a:cubicBezTo>
                      <a:cubicBezTo>
                        <a:pt x="4836" y="706"/>
                        <a:pt x="4836" y="706"/>
                        <a:pt x="4836" y="706"/>
                      </a:cubicBezTo>
                      <a:cubicBezTo>
                        <a:pt x="4682" y="593"/>
                        <a:pt x="4682" y="1005"/>
                        <a:pt x="4457" y="664"/>
                      </a:cubicBezTo>
                      <a:cubicBezTo>
                        <a:pt x="4356" y="507"/>
                        <a:pt x="4400" y="424"/>
                        <a:pt x="4187" y="438"/>
                      </a:cubicBezTo>
                      <a:cubicBezTo>
                        <a:pt x="3917" y="465"/>
                        <a:pt x="3917" y="465"/>
                        <a:pt x="3917" y="465"/>
                      </a:cubicBezTo>
                      <a:cubicBezTo>
                        <a:pt x="3890" y="465"/>
                        <a:pt x="3778" y="409"/>
                        <a:pt x="3763" y="424"/>
                      </a:cubicBezTo>
                      <a:cubicBezTo>
                        <a:pt x="3706" y="495"/>
                        <a:pt x="3819" y="566"/>
                        <a:pt x="3790" y="608"/>
                      </a:cubicBezTo>
                      <a:cubicBezTo>
                        <a:pt x="3706" y="762"/>
                        <a:pt x="3523" y="338"/>
                        <a:pt x="3422" y="495"/>
                      </a:cubicBezTo>
                      <a:cubicBezTo>
                        <a:pt x="3410" y="522"/>
                        <a:pt x="3451" y="566"/>
                        <a:pt x="3437" y="608"/>
                      </a:cubicBezTo>
                      <a:cubicBezTo>
                        <a:pt x="3437" y="649"/>
                        <a:pt x="3366" y="664"/>
                        <a:pt x="3366" y="679"/>
                      </a:cubicBezTo>
                      <a:cubicBezTo>
                        <a:pt x="3437" y="862"/>
                        <a:pt x="3155" y="720"/>
                        <a:pt x="3125" y="720"/>
                      </a:cubicBezTo>
                      <a:cubicBezTo>
                        <a:pt x="3125" y="833"/>
                        <a:pt x="3084" y="1046"/>
                        <a:pt x="3013" y="1088"/>
                      </a:cubicBezTo>
                      <a:cubicBezTo>
                        <a:pt x="2856" y="1188"/>
                        <a:pt x="2787" y="1272"/>
                        <a:pt x="2630" y="1343"/>
                      </a:cubicBezTo>
                      <a:cubicBezTo>
                        <a:pt x="2476" y="1512"/>
                        <a:pt x="2559" y="1385"/>
                        <a:pt x="2405" y="1328"/>
                      </a:cubicBezTo>
                      <a:cubicBezTo>
                        <a:pt x="2390" y="1313"/>
                        <a:pt x="2277" y="1088"/>
                        <a:pt x="2206" y="1215"/>
                      </a:cubicBezTo>
                      <a:cubicBezTo>
                        <a:pt x="2192" y="1257"/>
                        <a:pt x="2064" y="1130"/>
                        <a:pt x="2037" y="1103"/>
                      </a:cubicBezTo>
                      <a:cubicBezTo>
                        <a:pt x="1993" y="1046"/>
                        <a:pt x="1767" y="946"/>
                        <a:pt x="1839" y="875"/>
                      </a:cubicBezTo>
                      <a:cubicBezTo>
                        <a:pt x="2037" y="664"/>
                        <a:pt x="1711" y="777"/>
                        <a:pt x="1669" y="750"/>
                      </a:cubicBezTo>
                      <a:cubicBezTo>
                        <a:pt x="1527" y="608"/>
                        <a:pt x="1527" y="608"/>
                        <a:pt x="1527" y="608"/>
                      </a:cubicBezTo>
                      <a:cubicBezTo>
                        <a:pt x="1427" y="536"/>
                        <a:pt x="1400" y="536"/>
                        <a:pt x="1302" y="536"/>
                      </a:cubicBezTo>
                      <a:cubicBezTo>
                        <a:pt x="1231" y="522"/>
                        <a:pt x="1216" y="691"/>
                        <a:pt x="1231" y="720"/>
                      </a:cubicBezTo>
                      <a:cubicBezTo>
                        <a:pt x="1272" y="750"/>
                        <a:pt x="1314" y="735"/>
                        <a:pt x="1358" y="762"/>
                      </a:cubicBezTo>
                      <a:cubicBezTo>
                        <a:pt x="1358" y="762"/>
                        <a:pt x="1456" y="1598"/>
                        <a:pt x="1231" y="1429"/>
                      </a:cubicBezTo>
                      <a:cubicBezTo>
                        <a:pt x="1216" y="1470"/>
                        <a:pt x="1186" y="1456"/>
                        <a:pt x="1174" y="1441"/>
                      </a:cubicBezTo>
                      <a:lnTo>
                        <a:pt x="1174" y="1441"/>
                      </a:lnTo>
                      <a:cubicBezTo>
                        <a:pt x="1088" y="1613"/>
                        <a:pt x="1088" y="1613"/>
                        <a:pt x="1088" y="1613"/>
                      </a:cubicBezTo>
                      <a:cubicBezTo>
                        <a:pt x="1088" y="1654"/>
                        <a:pt x="1047" y="1669"/>
                        <a:pt x="1032" y="1711"/>
                      </a:cubicBezTo>
                      <a:cubicBezTo>
                        <a:pt x="1017" y="1782"/>
                        <a:pt x="1118" y="1809"/>
                        <a:pt x="1088" y="1909"/>
                      </a:cubicBezTo>
                      <a:cubicBezTo>
                        <a:pt x="1032" y="2037"/>
                        <a:pt x="1103" y="2108"/>
                        <a:pt x="1186" y="2206"/>
                      </a:cubicBezTo>
                      <a:cubicBezTo>
                        <a:pt x="1302" y="2306"/>
                        <a:pt x="1231" y="2390"/>
                        <a:pt x="1186" y="2532"/>
                      </a:cubicBezTo>
                      <a:cubicBezTo>
                        <a:pt x="1186" y="2615"/>
                        <a:pt x="1103" y="2686"/>
                        <a:pt x="1088" y="2772"/>
                      </a:cubicBezTo>
                      <a:cubicBezTo>
                        <a:pt x="1059" y="2843"/>
                        <a:pt x="1160" y="2941"/>
                        <a:pt x="1103" y="2970"/>
                      </a:cubicBezTo>
                      <a:cubicBezTo>
                        <a:pt x="946" y="3098"/>
                        <a:pt x="946" y="3098"/>
                        <a:pt x="946" y="3098"/>
                      </a:cubicBezTo>
                      <a:cubicBezTo>
                        <a:pt x="890" y="3154"/>
                        <a:pt x="848" y="3069"/>
                        <a:pt x="804" y="3027"/>
                      </a:cubicBezTo>
                      <a:cubicBezTo>
                        <a:pt x="762" y="2997"/>
                        <a:pt x="579" y="3054"/>
                        <a:pt x="507" y="3054"/>
                      </a:cubicBezTo>
                      <a:cubicBezTo>
                        <a:pt x="368" y="3054"/>
                        <a:pt x="368" y="3069"/>
                        <a:pt x="282" y="3140"/>
                      </a:cubicBezTo>
                      <a:cubicBezTo>
                        <a:pt x="253" y="3154"/>
                        <a:pt x="184" y="3098"/>
                        <a:pt x="154" y="3211"/>
                      </a:cubicBezTo>
                      <a:cubicBezTo>
                        <a:pt x="113" y="3380"/>
                        <a:pt x="0" y="3578"/>
                        <a:pt x="0" y="3762"/>
                      </a:cubicBezTo>
                      <a:lnTo>
                        <a:pt x="0" y="3762"/>
                      </a:lnTo>
                      <a:cubicBezTo>
                        <a:pt x="42" y="3762"/>
                        <a:pt x="56" y="3789"/>
                        <a:pt x="98" y="3804"/>
                      </a:cubicBezTo>
                      <a:cubicBezTo>
                        <a:pt x="169" y="3819"/>
                        <a:pt x="240" y="3748"/>
                        <a:pt x="297" y="3804"/>
                      </a:cubicBezTo>
                      <a:cubicBezTo>
                        <a:pt x="324" y="3848"/>
                        <a:pt x="309" y="3904"/>
                        <a:pt x="380" y="3875"/>
                      </a:cubicBezTo>
                      <a:cubicBezTo>
                        <a:pt x="537" y="3833"/>
                        <a:pt x="537" y="3819"/>
                        <a:pt x="537" y="3973"/>
                      </a:cubicBezTo>
                      <a:cubicBezTo>
                        <a:pt x="537" y="4044"/>
                        <a:pt x="593" y="4100"/>
                        <a:pt x="593" y="4172"/>
                      </a:cubicBezTo>
                      <a:cubicBezTo>
                        <a:pt x="593" y="4216"/>
                        <a:pt x="552" y="4243"/>
                        <a:pt x="564" y="4272"/>
                      </a:cubicBezTo>
                      <a:cubicBezTo>
                        <a:pt x="564" y="4314"/>
                        <a:pt x="608" y="4483"/>
                        <a:pt x="620" y="4512"/>
                      </a:cubicBezTo>
                      <a:cubicBezTo>
                        <a:pt x="650" y="4527"/>
                        <a:pt x="721" y="4527"/>
                        <a:pt x="748" y="4539"/>
                      </a:cubicBezTo>
                      <a:cubicBezTo>
                        <a:pt x="792" y="4554"/>
                        <a:pt x="819" y="4596"/>
                        <a:pt x="863" y="4625"/>
                      </a:cubicBezTo>
                      <a:cubicBezTo>
                        <a:pt x="919" y="4640"/>
                        <a:pt x="1160" y="4767"/>
                        <a:pt x="1201" y="4696"/>
                      </a:cubicBezTo>
                      <a:cubicBezTo>
                        <a:pt x="1231" y="4652"/>
                        <a:pt x="1258" y="4370"/>
                        <a:pt x="1385" y="4412"/>
                      </a:cubicBezTo>
                      <a:cubicBezTo>
                        <a:pt x="1385" y="4527"/>
                        <a:pt x="1569" y="4554"/>
                        <a:pt x="1640" y="4554"/>
                      </a:cubicBezTo>
                      <a:cubicBezTo>
                        <a:pt x="1711" y="4569"/>
                        <a:pt x="1611" y="5007"/>
                        <a:pt x="1598" y="5079"/>
                      </a:cubicBezTo>
                      <a:cubicBezTo>
                        <a:pt x="1542" y="5262"/>
                        <a:pt x="1797" y="5333"/>
                        <a:pt x="1726" y="5559"/>
                      </a:cubicBezTo>
                      <a:cubicBezTo>
                        <a:pt x="1696" y="5657"/>
                        <a:pt x="1740" y="5672"/>
                        <a:pt x="1767" y="5757"/>
                      </a:cubicBezTo>
                      <a:cubicBezTo>
                        <a:pt x="1951" y="5885"/>
                        <a:pt x="1880" y="6606"/>
                        <a:pt x="1824" y="6789"/>
                      </a:cubicBezTo>
                      <a:cubicBezTo>
                        <a:pt x="1824" y="6959"/>
                        <a:pt x="1625" y="7172"/>
                        <a:pt x="1711" y="7341"/>
                      </a:cubicBezTo>
                      <a:cubicBezTo>
                        <a:pt x="1740" y="7383"/>
                        <a:pt x="1782" y="7412"/>
                        <a:pt x="1797" y="7468"/>
                      </a:cubicBezTo>
                      <a:cubicBezTo>
                        <a:pt x="1824" y="7554"/>
                        <a:pt x="1809" y="7625"/>
                        <a:pt x="1880" y="7709"/>
                      </a:cubicBezTo>
                      <a:cubicBezTo>
                        <a:pt x="2049" y="7934"/>
                        <a:pt x="2049" y="7934"/>
                        <a:pt x="2049" y="7934"/>
                      </a:cubicBezTo>
                      <a:cubicBezTo>
                        <a:pt x="2248" y="8260"/>
                        <a:pt x="2589" y="8346"/>
                        <a:pt x="2942" y="8432"/>
                      </a:cubicBezTo>
                      <a:cubicBezTo>
                        <a:pt x="3197" y="8488"/>
                        <a:pt x="3140" y="8488"/>
                        <a:pt x="3197" y="8714"/>
                      </a:cubicBezTo>
                      <a:cubicBezTo>
                        <a:pt x="3226" y="8871"/>
                        <a:pt x="3351" y="8883"/>
                        <a:pt x="3351" y="9067"/>
                      </a:cubicBezTo>
                      <a:cubicBezTo>
                        <a:pt x="3351" y="9152"/>
                        <a:pt x="3351" y="9152"/>
                        <a:pt x="3351" y="9152"/>
                      </a:cubicBezTo>
                      <a:lnTo>
                        <a:pt x="3351" y="9152"/>
                      </a:lnTo>
                      <a:cubicBezTo>
                        <a:pt x="3523" y="9434"/>
                        <a:pt x="3523" y="9434"/>
                        <a:pt x="3523" y="9434"/>
                      </a:cubicBezTo>
                      <a:cubicBezTo>
                        <a:pt x="3733" y="10878"/>
                        <a:pt x="3733" y="10878"/>
                        <a:pt x="3733" y="10878"/>
                      </a:cubicBezTo>
                      <a:lnTo>
                        <a:pt x="3733" y="10878"/>
                      </a:lnTo>
                      <a:cubicBezTo>
                        <a:pt x="5984" y="10157"/>
                        <a:pt x="5984" y="10157"/>
                        <a:pt x="5984" y="10157"/>
                      </a:cubicBezTo>
                      <a:lnTo>
                        <a:pt x="5984" y="10157"/>
                      </a:lnTo>
                      <a:cubicBezTo>
                        <a:pt x="5998" y="10113"/>
                        <a:pt x="6013" y="10072"/>
                        <a:pt x="6025" y="10030"/>
                      </a:cubicBezTo>
                      <a:cubicBezTo>
                        <a:pt x="6013" y="10001"/>
                        <a:pt x="6082" y="9775"/>
                        <a:pt x="6111" y="9746"/>
                      </a:cubicBezTo>
                    </a:path>
                  </a:pathLst>
                </a:custGeom>
                <a:solidFill>
                  <a:schemeClr val="accent5"/>
                </a:solidFill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  <p:sp>
              <p:nvSpPr>
                <p:cNvPr id="37" name="Freeform 5"/>
                <p:cNvSpPr>
                  <a:spLocks noChangeArrowheads="1"/>
                </p:cNvSpPr>
                <p:nvPr/>
              </p:nvSpPr>
              <p:spPr bwMode="auto">
                <a:xfrm>
                  <a:off x="7930077" y="1895004"/>
                  <a:ext cx="1693090" cy="1174078"/>
                </a:xfrm>
                <a:custGeom>
                  <a:avLst/>
                  <a:gdLst>
                    <a:gd name="T0" fmla="*/ 226 w 9493"/>
                    <a:gd name="T1" fmla="*/ 5717 h 6002"/>
                    <a:gd name="T2" fmla="*/ 1074 w 9493"/>
                    <a:gd name="T3" fmla="*/ 5915 h 6002"/>
                    <a:gd name="T4" fmla="*/ 1584 w 9493"/>
                    <a:gd name="T5" fmla="*/ 5589 h 6002"/>
                    <a:gd name="T6" fmla="*/ 2417 w 9493"/>
                    <a:gd name="T7" fmla="*/ 5435 h 6002"/>
                    <a:gd name="T8" fmla="*/ 3140 w 9493"/>
                    <a:gd name="T9" fmla="*/ 4939 h 6002"/>
                    <a:gd name="T10" fmla="*/ 3324 w 9493"/>
                    <a:gd name="T11" fmla="*/ 4457 h 6002"/>
                    <a:gd name="T12" fmla="*/ 3437 w 9493"/>
                    <a:gd name="T13" fmla="*/ 3525 h 6002"/>
                    <a:gd name="T14" fmla="*/ 4131 w 9493"/>
                    <a:gd name="T15" fmla="*/ 3439 h 6002"/>
                    <a:gd name="T16" fmla="*/ 4810 w 9493"/>
                    <a:gd name="T17" fmla="*/ 3834 h 6002"/>
                    <a:gd name="T18" fmla="*/ 5601 w 9493"/>
                    <a:gd name="T19" fmla="*/ 3976 h 6002"/>
                    <a:gd name="T20" fmla="*/ 6266 w 9493"/>
                    <a:gd name="T21" fmla="*/ 4118 h 6002"/>
                    <a:gd name="T22" fmla="*/ 7567 w 9493"/>
                    <a:gd name="T23" fmla="*/ 4768 h 6002"/>
                    <a:gd name="T24" fmla="*/ 8374 w 9493"/>
                    <a:gd name="T25" fmla="*/ 5334 h 6002"/>
                    <a:gd name="T26" fmla="*/ 8827 w 9493"/>
                    <a:gd name="T27" fmla="*/ 5506 h 6002"/>
                    <a:gd name="T28" fmla="*/ 9352 w 9493"/>
                    <a:gd name="T29" fmla="*/ 5533 h 6002"/>
                    <a:gd name="T30" fmla="*/ 9337 w 9493"/>
                    <a:gd name="T31" fmla="*/ 5405 h 6002"/>
                    <a:gd name="T32" fmla="*/ 9097 w 9493"/>
                    <a:gd name="T33" fmla="*/ 5263 h 6002"/>
                    <a:gd name="T34" fmla="*/ 9124 w 9493"/>
                    <a:gd name="T35" fmla="*/ 4699 h 6002"/>
                    <a:gd name="T36" fmla="*/ 8842 w 9493"/>
                    <a:gd name="T37" fmla="*/ 4373 h 6002"/>
                    <a:gd name="T38" fmla="*/ 8813 w 9493"/>
                    <a:gd name="T39" fmla="*/ 4089 h 6002"/>
                    <a:gd name="T40" fmla="*/ 8545 w 9493"/>
                    <a:gd name="T41" fmla="*/ 3822 h 6002"/>
                    <a:gd name="T42" fmla="*/ 8673 w 9493"/>
                    <a:gd name="T43" fmla="*/ 3466 h 6002"/>
                    <a:gd name="T44" fmla="*/ 9067 w 9493"/>
                    <a:gd name="T45" fmla="*/ 3270 h 6002"/>
                    <a:gd name="T46" fmla="*/ 9153 w 9493"/>
                    <a:gd name="T47" fmla="*/ 2915 h 6002"/>
                    <a:gd name="T48" fmla="*/ 9011 w 9493"/>
                    <a:gd name="T49" fmla="*/ 2903 h 6002"/>
                    <a:gd name="T50" fmla="*/ 8587 w 9493"/>
                    <a:gd name="T51" fmla="*/ 3113 h 6002"/>
                    <a:gd name="T52" fmla="*/ 7724 w 9493"/>
                    <a:gd name="T53" fmla="*/ 2903 h 6002"/>
                    <a:gd name="T54" fmla="*/ 7624 w 9493"/>
                    <a:gd name="T55" fmla="*/ 3199 h 6002"/>
                    <a:gd name="T56" fmla="*/ 7695 w 9493"/>
                    <a:gd name="T57" fmla="*/ 2760 h 6002"/>
                    <a:gd name="T58" fmla="*/ 7315 w 9493"/>
                    <a:gd name="T59" fmla="*/ 2322 h 6002"/>
                    <a:gd name="T60" fmla="*/ 7271 w 9493"/>
                    <a:gd name="T61" fmla="*/ 2618 h 6002"/>
                    <a:gd name="T62" fmla="*/ 6918 w 9493"/>
                    <a:gd name="T63" fmla="*/ 2520 h 6002"/>
                    <a:gd name="T64" fmla="*/ 6479 w 9493"/>
                    <a:gd name="T65" fmla="*/ 2787 h 6002"/>
                    <a:gd name="T66" fmla="*/ 6097 w 9493"/>
                    <a:gd name="T67" fmla="*/ 2787 h 6002"/>
                    <a:gd name="T68" fmla="*/ 5984 w 9493"/>
                    <a:gd name="T69" fmla="*/ 2464 h 6002"/>
                    <a:gd name="T70" fmla="*/ 6168 w 9493"/>
                    <a:gd name="T71" fmla="*/ 2179 h 6002"/>
                    <a:gd name="T72" fmla="*/ 5954 w 9493"/>
                    <a:gd name="T73" fmla="*/ 1429 h 6002"/>
                    <a:gd name="T74" fmla="*/ 5815 w 9493"/>
                    <a:gd name="T75" fmla="*/ 652 h 6002"/>
                    <a:gd name="T76" fmla="*/ 5263 w 9493"/>
                    <a:gd name="T77" fmla="*/ 412 h 6002"/>
                    <a:gd name="T78" fmla="*/ 4908 w 9493"/>
                    <a:gd name="T79" fmla="*/ 638 h 6002"/>
                    <a:gd name="T80" fmla="*/ 4045 w 9493"/>
                    <a:gd name="T81" fmla="*/ 214 h 6002"/>
                    <a:gd name="T82" fmla="*/ 3550 w 9493"/>
                    <a:gd name="T83" fmla="*/ 299 h 6002"/>
                    <a:gd name="T84" fmla="*/ 3126 w 9493"/>
                    <a:gd name="T85" fmla="*/ 439 h 6002"/>
                    <a:gd name="T86" fmla="*/ 2844 w 9493"/>
                    <a:gd name="T87" fmla="*/ 567 h 6002"/>
                    <a:gd name="T88" fmla="*/ 2645 w 9493"/>
                    <a:gd name="T89" fmla="*/ 652 h 6002"/>
                    <a:gd name="T90" fmla="*/ 2645 w 9493"/>
                    <a:gd name="T91" fmla="*/ 922 h 6002"/>
                    <a:gd name="T92" fmla="*/ 2165 w 9493"/>
                    <a:gd name="T93" fmla="*/ 1106 h 6002"/>
                    <a:gd name="T94" fmla="*/ 946 w 9493"/>
                    <a:gd name="T95" fmla="*/ 1486 h 6002"/>
                    <a:gd name="T96" fmla="*/ 155 w 9493"/>
                    <a:gd name="T97" fmla="*/ 1741 h 6002"/>
                    <a:gd name="T98" fmla="*/ 282 w 9493"/>
                    <a:gd name="T99" fmla="*/ 2434 h 6002"/>
                    <a:gd name="T100" fmla="*/ 42 w 9493"/>
                    <a:gd name="T101" fmla="*/ 2888 h 6002"/>
                    <a:gd name="T102" fmla="*/ 184 w 9493"/>
                    <a:gd name="T103" fmla="*/ 3623 h 6002"/>
                    <a:gd name="T104" fmla="*/ 466 w 9493"/>
                    <a:gd name="T105" fmla="*/ 4260 h 6002"/>
                    <a:gd name="T106" fmla="*/ 481 w 9493"/>
                    <a:gd name="T107" fmla="*/ 4670 h 6002"/>
                    <a:gd name="T108" fmla="*/ 42 w 9493"/>
                    <a:gd name="T109" fmla="*/ 4981 h 600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9493" h="6002">
                      <a:moveTo>
                        <a:pt x="54" y="5533"/>
                      </a:moveTo>
                      <a:lnTo>
                        <a:pt x="54" y="5533"/>
                      </a:lnTo>
                      <a:cubicBezTo>
                        <a:pt x="155" y="5574"/>
                        <a:pt x="155" y="5690"/>
                        <a:pt x="226" y="5717"/>
                      </a:cubicBezTo>
                      <a:cubicBezTo>
                        <a:pt x="297" y="5758"/>
                        <a:pt x="679" y="5574"/>
                        <a:pt x="679" y="5690"/>
                      </a:cubicBezTo>
                      <a:cubicBezTo>
                        <a:pt x="679" y="5957"/>
                        <a:pt x="792" y="5773"/>
                        <a:pt x="961" y="5829"/>
                      </a:cubicBezTo>
                      <a:cubicBezTo>
                        <a:pt x="1003" y="5844"/>
                        <a:pt x="1017" y="5900"/>
                        <a:pt x="1074" y="5915"/>
                      </a:cubicBezTo>
                      <a:cubicBezTo>
                        <a:pt x="1160" y="5930"/>
                        <a:pt x="1243" y="5873"/>
                        <a:pt x="1329" y="5886"/>
                      </a:cubicBezTo>
                      <a:cubicBezTo>
                        <a:pt x="1400" y="5900"/>
                        <a:pt x="1527" y="6001"/>
                        <a:pt x="1527" y="5859"/>
                      </a:cubicBezTo>
                      <a:cubicBezTo>
                        <a:pt x="1527" y="5758"/>
                        <a:pt x="1456" y="5631"/>
                        <a:pt x="1584" y="5589"/>
                      </a:cubicBezTo>
                      <a:cubicBezTo>
                        <a:pt x="1839" y="5604"/>
                        <a:pt x="1851" y="5758"/>
                        <a:pt x="2037" y="5844"/>
                      </a:cubicBezTo>
                      <a:cubicBezTo>
                        <a:pt x="2106" y="5886"/>
                        <a:pt x="2348" y="5746"/>
                        <a:pt x="2405" y="5690"/>
                      </a:cubicBezTo>
                      <a:cubicBezTo>
                        <a:pt x="2473" y="5604"/>
                        <a:pt x="2277" y="5420"/>
                        <a:pt x="2417" y="5435"/>
                      </a:cubicBezTo>
                      <a:cubicBezTo>
                        <a:pt x="2518" y="5435"/>
                        <a:pt x="2773" y="5292"/>
                        <a:pt x="2800" y="5192"/>
                      </a:cubicBezTo>
                      <a:cubicBezTo>
                        <a:pt x="2844" y="5052"/>
                        <a:pt x="2856" y="5150"/>
                        <a:pt x="2942" y="5079"/>
                      </a:cubicBezTo>
                      <a:cubicBezTo>
                        <a:pt x="3027" y="5011"/>
                        <a:pt x="3013" y="4939"/>
                        <a:pt x="3140" y="4939"/>
                      </a:cubicBezTo>
                      <a:cubicBezTo>
                        <a:pt x="3324" y="4939"/>
                        <a:pt x="3126" y="4797"/>
                        <a:pt x="3140" y="4726"/>
                      </a:cubicBezTo>
                      <a:cubicBezTo>
                        <a:pt x="3155" y="4699"/>
                        <a:pt x="3226" y="4643"/>
                        <a:pt x="3253" y="4613"/>
                      </a:cubicBezTo>
                      <a:cubicBezTo>
                        <a:pt x="3282" y="4572"/>
                        <a:pt x="3324" y="4513"/>
                        <a:pt x="3324" y="4457"/>
                      </a:cubicBezTo>
                      <a:cubicBezTo>
                        <a:pt x="3351" y="4246"/>
                        <a:pt x="3226" y="4118"/>
                        <a:pt x="3096" y="3976"/>
                      </a:cubicBezTo>
                      <a:cubicBezTo>
                        <a:pt x="2971" y="3849"/>
                        <a:pt x="3140" y="3721"/>
                        <a:pt x="3226" y="3608"/>
                      </a:cubicBezTo>
                      <a:cubicBezTo>
                        <a:pt x="3295" y="3525"/>
                        <a:pt x="3339" y="3439"/>
                        <a:pt x="3437" y="3525"/>
                      </a:cubicBezTo>
                      <a:cubicBezTo>
                        <a:pt x="3523" y="3582"/>
                        <a:pt x="3834" y="3282"/>
                        <a:pt x="3890" y="3525"/>
                      </a:cubicBezTo>
                      <a:cubicBezTo>
                        <a:pt x="3890" y="3567"/>
                        <a:pt x="3917" y="3751"/>
                        <a:pt x="3988" y="3680"/>
                      </a:cubicBezTo>
                      <a:cubicBezTo>
                        <a:pt x="4059" y="3608"/>
                        <a:pt x="4018" y="3525"/>
                        <a:pt x="4131" y="3439"/>
                      </a:cubicBezTo>
                      <a:cubicBezTo>
                        <a:pt x="4172" y="3439"/>
                        <a:pt x="4457" y="3496"/>
                        <a:pt x="4484" y="3525"/>
                      </a:cubicBezTo>
                      <a:cubicBezTo>
                        <a:pt x="4584" y="3582"/>
                        <a:pt x="4528" y="3709"/>
                        <a:pt x="4584" y="3792"/>
                      </a:cubicBezTo>
                      <a:cubicBezTo>
                        <a:pt x="4626" y="3878"/>
                        <a:pt x="4724" y="3834"/>
                        <a:pt x="4810" y="3834"/>
                      </a:cubicBezTo>
                      <a:cubicBezTo>
                        <a:pt x="4979" y="3849"/>
                        <a:pt x="5008" y="4329"/>
                        <a:pt x="5234" y="4133"/>
                      </a:cubicBezTo>
                      <a:cubicBezTo>
                        <a:pt x="5305" y="4089"/>
                        <a:pt x="5361" y="4033"/>
                        <a:pt x="5447" y="4006"/>
                      </a:cubicBezTo>
                      <a:cubicBezTo>
                        <a:pt x="5503" y="3976"/>
                        <a:pt x="5530" y="3961"/>
                        <a:pt x="5601" y="3976"/>
                      </a:cubicBezTo>
                      <a:cubicBezTo>
                        <a:pt x="5658" y="3991"/>
                        <a:pt x="5842" y="3905"/>
                        <a:pt x="5871" y="3976"/>
                      </a:cubicBezTo>
                      <a:cubicBezTo>
                        <a:pt x="5898" y="4047"/>
                        <a:pt x="5913" y="4118"/>
                        <a:pt x="5998" y="4118"/>
                      </a:cubicBezTo>
                      <a:cubicBezTo>
                        <a:pt x="6111" y="4118"/>
                        <a:pt x="6138" y="4160"/>
                        <a:pt x="6266" y="4118"/>
                      </a:cubicBezTo>
                      <a:cubicBezTo>
                        <a:pt x="6805" y="3934"/>
                        <a:pt x="6565" y="4599"/>
                        <a:pt x="6719" y="4827"/>
                      </a:cubicBezTo>
                      <a:cubicBezTo>
                        <a:pt x="6817" y="4966"/>
                        <a:pt x="6959" y="4952"/>
                        <a:pt x="7131" y="4952"/>
                      </a:cubicBezTo>
                      <a:cubicBezTo>
                        <a:pt x="7300" y="4952"/>
                        <a:pt x="7383" y="4812"/>
                        <a:pt x="7567" y="4768"/>
                      </a:cubicBezTo>
                      <a:cubicBezTo>
                        <a:pt x="7638" y="4756"/>
                        <a:pt x="7638" y="4854"/>
                        <a:pt x="7709" y="4839"/>
                      </a:cubicBezTo>
                      <a:cubicBezTo>
                        <a:pt x="7837" y="4812"/>
                        <a:pt x="7979" y="4712"/>
                        <a:pt x="8050" y="4895"/>
                      </a:cubicBezTo>
                      <a:cubicBezTo>
                        <a:pt x="8134" y="5094"/>
                        <a:pt x="8134" y="5307"/>
                        <a:pt x="8374" y="5334"/>
                      </a:cubicBezTo>
                      <a:cubicBezTo>
                        <a:pt x="8418" y="5349"/>
                        <a:pt x="8445" y="5390"/>
                        <a:pt x="8489" y="5405"/>
                      </a:cubicBezTo>
                      <a:cubicBezTo>
                        <a:pt x="8558" y="5420"/>
                        <a:pt x="8629" y="5378"/>
                        <a:pt x="8700" y="5405"/>
                      </a:cubicBezTo>
                      <a:cubicBezTo>
                        <a:pt x="8756" y="5420"/>
                        <a:pt x="8756" y="5506"/>
                        <a:pt x="8827" y="5506"/>
                      </a:cubicBezTo>
                      <a:cubicBezTo>
                        <a:pt x="9408" y="5675"/>
                        <a:pt x="9408" y="5675"/>
                        <a:pt x="9408" y="5675"/>
                      </a:cubicBezTo>
                      <a:lnTo>
                        <a:pt x="9408" y="5675"/>
                      </a:lnTo>
                      <a:cubicBezTo>
                        <a:pt x="9408" y="5618"/>
                        <a:pt x="9408" y="5574"/>
                        <a:pt x="9352" y="5533"/>
                      </a:cubicBezTo>
                      <a:cubicBezTo>
                        <a:pt x="9295" y="5476"/>
                        <a:pt x="9180" y="5547"/>
                        <a:pt x="9124" y="5462"/>
                      </a:cubicBezTo>
                      <a:cubicBezTo>
                        <a:pt x="9082" y="5420"/>
                        <a:pt x="9112" y="5334"/>
                        <a:pt x="9168" y="5334"/>
                      </a:cubicBezTo>
                      <a:cubicBezTo>
                        <a:pt x="9239" y="5334"/>
                        <a:pt x="9295" y="5364"/>
                        <a:pt x="9337" y="5405"/>
                      </a:cubicBezTo>
                      <a:cubicBezTo>
                        <a:pt x="9435" y="5506"/>
                        <a:pt x="9450" y="5307"/>
                        <a:pt x="9465" y="5251"/>
                      </a:cubicBezTo>
                      <a:cubicBezTo>
                        <a:pt x="9492" y="5180"/>
                        <a:pt x="9465" y="4981"/>
                        <a:pt x="9352" y="5023"/>
                      </a:cubicBezTo>
                      <a:cubicBezTo>
                        <a:pt x="9224" y="5067"/>
                        <a:pt x="9224" y="5236"/>
                        <a:pt x="9097" y="5263"/>
                      </a:cubicBezTo>
                      <a:cubicBezTo>
                        <a:pt x="9011" y="5278"/>
                        <a:pt x="9011" y="5136"/>
                        <a:pt x="9011" y="5094"/>
                      </a:cubicBezTo>
                      <a:cubicBezTo>
                        <a:pt x="9011" y="4996"/>
                        <a:pt x="9112" y="4895"/>
                        <a:pt x="8955" y="4895"/>
                      </a:cubicBezTo>
                      <a:cubicBezTo>
                        <a:pt x="8827" y="4895"/>
                        <a:pt x="9112" y="4726"/>
                        <a:pt x="9124" y="4699"/>
                      </a:cubicBezTo>
                      <a:cubicBezTo>
                        <a:pt x="9168" y="4643"/>
                        <a:pt x="9124" y="4542"/>
                        <a:pt x="9067" y="4513"/>
                      </a:cubicBezTo>
                      <a:cubicBezTo>
                        <a:pt x="8996" y="4486"/>
                        <a:pt x="8898" y="4643"/>
                        <a:pt x="8842" y="4584"/>
                      </a:cubicBezTo>
                      <a:cubicBezTo>
                        <a:pt x="8786" y="4513"/>
                        <a:pt x="8771" y="4430"/>
                        <a:pt x="8842" y="4373"/>
                      </a:cubicBezTo>
                      <a:cubicBezTo>
                        <a:pt x="8898" y="4317"/>
                        <a:pt x="8984" y="4373"/>
                        <a:pt x="8913" y="4216"/>
                      </a:cubicBezTo>
                      <a:cubicBezTo>
                        <a:pt x="8813" y="4089"/>
                        <a:pt x="8813" y="4089"/>
                        <a:pt x="8813" y="4089"/>
                      </a:cubicBezTo>
                      <a:lnTo>
                        <a:pt x="8813" y="4089"/>
                      </a:lnTo>
                      <a:cubicBezTo>
                        <a:pt x="8771" y="4118"/>
                        <a:pt x="8741" y="4133"/>
                        <a:pt x="8729" y="4104"/>
                      </a:cubicBezTo>
                      <a:lnTo>
                        <a:pt x="8729" y="4089"/>
                      </a:lnTo>
                      <a:cubicBezTo>
                        <a:pt x="8729" y="3920"/>
                        <a:pt x="8531" y="3905"/>
                        <a:pt x="8545" y="3822"/>
                      </a:cubicBezTo>
                      <a:cubicBezTo>
                        <a:pt x="8545" y="3778"/>
                        <a:pt x="8587" y="3765"/>
                        <a:pt x="8572" y="3736"/>
                      </a:cubicBezTo>
                      <a:cubicBezTo>
                        <a:pt x="8545" y="3665"/>
                        <a:pt x="8558" y="3665"/>
                        <a:pt x="8629" y="3650"/>
                      </a:cubicBezTo>
                      <a:cubicBezTo>
                        <a:pt x="8643" y="3582"/>
                        <a:pt x="8714" y="3582"/>
                        <a:pt x="8673" y="3466"/>
                      </a:cubicBezTo>
                      <a:cubicBezTo>
                        <a:pt x="8643" y="3368"/>
                        <a:pt x="8756" y="3425"/>
                        <a:pt x="8771" y="3383"/>
                      </a:cubicBezTo>
                      <a:cubicBezTo>
                        <a:pt x="8842" y="3368"/>
                        <a:pt x="8714" y="3255"/>
                        <a:pt x="8857" y="3270"/>
                      </a:cubicBezTo>
                      <a:cubicBezTo>
                        <a:pt x="8940" y="3270"/>
                        <a:pt x="8984" y="3297"/>
                        <a:pt x="9067" y="3270"/>
                      </a:cubicBezTo>
                      <a:cubicBezTo>
                        <a:pt x="9067" y="3211"/>
                        <a:pt x="9097" y="3155"/>
                        <a:pt x="9112" y="3099"/>
                      </a:cubicBezTo>
                      <a:cubicBezTo>
                        <a:pt x="9124" y="3072"/>
                        <a:pt x="9168" y="2915"/>
                        <a:pt x="9153" y="2915"/>
                      </a:cubicBezTo>
                      <a:lnTo>
                        <a:pt x="9153" y="2915"/>
                      </a:lnTo>
                      <a:lnTo>
                        <a:pt x="9139" y="2903"/>
                      </a:lnTo>
                      <a:lnTo>
                        <a:pt x="9139" y="2903"/>
                      </a:lnTo>
                      <a:cubicBezTo>
                        <a:pt x="9082" y="2903"/>
                        <a:pt x="9067" y="2888"/>
                        <a:pt x="9011" y="2903"/>
                      </a:cubicBezTo>
                      <a:cubicBezTo>
                        <a:pt x="9011" y="2929"/>
                        <a:pt x="8984" y="3057"/>
                        <a:pt x="8925" y="3015"/>
                      </a:cubicBezTo>
                      <a:cubicBezTo>
                        <a:pt x="8869" y="3057"/>
                        <a:pt x="8884" y="3170"/>
                        <a:pt x="8771" y="3086"/>
                      </a:cubicBezTo>
                      <a:cubicBezTo>
                        <a:pt x="8729" y="3057"/>
                        <a:pt x="8658" y="3128"/>
                        <a:pt x="8587" y="3113"/>
                      </a:cubicBezTo>
                      <a:cubicBezTo>
                        <a:pt x="8445" y="3099"/>
                        <a:pt x="8276" y="2971"/>
                        <a:pt x="8246" y="2858"/>
                      </a:cubicBezTo>
                      <a:cubicBezTo>
                        <a:pt x="8234" y="2831"/>
                        <a:pt x="8035" y="2775"/>
                        <a:pt x="7994" y="2775"/>
                      </a:cubicBezTo>
                      <a:cubicBezTo>
                        <a:pt x="7866" y="2775"/>
                        <a:pt x="7724" y="2704"/>
                        <a:pt x="7724" y="2903"/>
                      </a:cubicBezTo>
                      <a:cubicBezTo>
                        <a:pt x="7810" y="2929"/>
                        <a:pt x="7937" y="2959"/>
                        <a:pt x="7937" y="3086"/>
                      </a:cubicBezTo>
                      <a:cubicBezTo>
                        <a:pt x="7923" y="3099"/>
                        <a:pt x="7923" y="3099"/>
                        <a:pt x="7923" y="3099"/>
                      </a:cubicBezTo>
                      <a:cubicBezTo>
                        <a:pt x="7781" y="3099"/>
                        <a:pt x="7695" y="2986"/>
                        <a:pt x="7624" y="3199"/>
                      </a:cubicBezTo>
                      <a:cubicBezTo>
                        <a:pt x="7428" y="3199"/>
                        <a:pt x="7624" y="2944"/>
                        <a:pt x="7597" y="2888"/>
                      </a:cubicBezTo>
                      <a:cubicBezTo>
                        <a:pt x="7582" y="2873"/>
                        <a:pt x="7499" y="2831"/>
                        <a:pt x="7555" y="2802"/>
                      </a:cubicBezTo>
                      <a:cubicBezTo>
                        <a:pt x="7597" y="2787"/>
                        <a:pt x="7638" y="2775"/>
                        <a:pt x="7695" y="2760"/>
                      </a:cubicBezTo>
                      <a:cubicBezTo>
                        <a:pt x="7695" y="2719"/>
                        <a:pt x="7540" y="2675"/>
                        <a:pt x="7499" y="2662"/>
                      </a:cubicBezTo>
                      <a:cubicBezTo>
                        <a:pt x="7413" y="2603"/>
                        <a:pt x="7526" y="2532"/>
                        <a:pt x="7440" y="2491"/>
                      </a:cubicBezTo>
                      <a:cubicBezTo>
                        <a:pt x="7440" y="2434"/>
                        <a:pt x="7371" y="2349"/>
                        <a:pt x="7315" y="2322"/>
                      </a:cubicBezTo>
                      <a:cubicBezTo>
                        <a:pt x="7187" y="2265"/>
                        <a:pt x="7173" y="2224"/>
                        <a:pt x="7143" y="2349"/>
                      </a:cubicBezTo>
                      <a:cubicBezTo>
                        <a:pt x="7158" y="2378"/>
                        <a:pt x="7229" y="2420"/>
                        <a:pt x="7244" y="2420"/>
                      </a:cubicBezTo>
                      <a:cubicBezTo>
                        <a:pt x="7244" y="2562"/>
                        <a:pt x="7131" y="2476"/>
                        <a:pt x="7271" y="2618"/>
                      </a:cubicBezTo>
                      <a:cubicBezTo>
                        <a:pt x="7398" y="2760"/>
                        <a:pt x="7214" y="2746"/>
                        <a:pt x="7200" y="2719"/>
                      </a:cubicBezTo>
                      <a:cubicBezTo>
                        <a:pt x="7200" y="2618"/>
                        <a:pt x="7200" y="2675"/>
                        <a:pt x="7131" y="2603"/>
                      </a:cubicBezTo>
                      <a:cubicBezTo>
                        <a:pt x="7060" y="2520"/>
                        <a:pt x="7045" y="2520"/>
                        <a:pt x="6918" y="2520"/>
                      </a:cubicBezTo>
                      <a:cubicBezTo>
                        <a:pt x="6790" y="2532"/>
                        <a:pt x="6719" y="2547"/>
                        <a:pt x="6776" y="2719"/>
                      </a:cubicBezTo>
                      <a:cubicBezTo>
                        <a:pt x="6817" y="2844"/>
                        <a:pt x="6565" y="2802"/>
                        <a:pt x="6494" y="2802"/>
                      </a:cubicBezTo>
                      <a:lnTo>
                        <a:pt x="6479" y="2787"/>
                      </a:lnTo>
                      <a:cubicBezTo>
                        <a:pt x="6452" y="2675"/>
                        <a:pt x="6452" y="2662"/>
                        <a:pt x="6295" y="2662"/>
                      </a:cubicBezTo>
                      <a:cubicBezTo>
                        <a:pt x="6224" y="2662"/>
                        <a:pt x="6182" y="2817"/>
                        <a:pt x="6097" y="2787"/>
                      </a:cubicBezTo>
                      <a:lnTo>
                        <a:pt x="6097" y="2787"/>
                      </a:lnTo>
                      <a:cubicBezTo>
                        <a:pt x="6070" y="2775"/>
                        <a:pt x="6055" y="2746"/>
                        <a:pt x="6055" y="2704"/>
                      </a:cubicBezTo>
                      <a:cubicBezTo>
                        <a:pt x="6040" y="2633"/>
                        <a:pt x="6013" y="2648"/>
                        <a:pt x="5984" y="2603"/>
                      </a:cubicBezTo>
                      <a:cubicBezTo>
                        <a:pt x="5984" y="2562"/>
                        <a:pt x="6025" y="2476"/>
                        <a:pt x="5984" y="2464"/>
                      </a:cubicBezTo>
                      <a:cubicBezTo>
                        <a:pt x="5927" y="2449"/>
                        <a:pt x="5871" y="2449"/>
                        <a:pt x="5927" y="2363"/>
                      </a:cubicBezTo>
                      <a:cubicBezTo>
                        <a:pt x="5969" y="2307"/>
                        <a:pt x="6111" y="2393"/>
                        <a:pt x="6138" y="2363"/>
                      </a:cubicBezTo>
                      <a:cubicBezTo>
                        <a:pt x="6182" y="2307"/>
                        <a:pt x="6138" y="2224"/>
                        <a:pt x="6168" y="2179"/>
                      </a:cubicBezTo>
                      <a:cubicBezTo>
                        <a:pt x="6070" y="2052"/>
                        <a:pt x="6082" y="1785"/>
                        <a:pt x="6253" y="1728"/>
                      </a:cubicBezTo>
                      <a:cubicBezTo>
                        <a:pt x="6253" y="1684"/>
                        <a:pt x="6138" y="1586"/>
                        <a:pt x="6111" y="1586"/>
                      </a:cubicBezTo>
                      <a:cubicBezTo>
                        <a:pt x="5969" y="1572"/>
                        <a:pt x="5998" y="1557"/>
                        <a:pt x="5954" y="1429"/>
                      </a:cubicBezTo>
                      <a:cubicBezTo>
                        <a:pt x="5927" y="1346"/>
                        <a:pt x="5942" y="1317"/>
                        <a:pt x="5871" y="1246"/>
                      </a:cubicBezTo>
                      <a:cubicBezTo>
                        <a:pt x="5829" y="1189"/>
                        <a:pt x="5984" y="807"/>
                        <a:pt x="5913" y="780"/>
                      </a:cubicBezTo>
                      <a:cubicBezTo>
                        <a:pt x="5842" y="738"/>
                        <a:pt x="5856" y="709"/>
                        <a:pt x="5815" y="652"/>
                      </a:cubicBezTo>
                      <a:cubicBezTo>
                        <a:pt x="5758" y="611"/>
                        <a:pt x="5699" y="495"/>
                        <a:pt x="5699" y="427"/>
                      </a:cubicBezTo>
                      <a:cubicBezTo>
                        <a:pt x="5699" y="326"/>
                        <a:pt x="5447" y="454"/>
                        <a:pt x="5432" y="454"/>
                      </a:cubicBezTo>
                      <a:cubicBezTo>
                        <a:pt x="5391" y="454"/>
                        <a:pt x="5319" y="383"/>
                        <a:pt x="5263" y="412"/>
                      </a:cubicBezTo>
                      <a:cubicBezTo>
                        <a:pt x="5192" y="439"/>
                        <a:pt x="5248" y="525"/>
                        <a:pt x="5163" y="567"/>
                      </a:cubicBezTo>
                      <a:cubicBezTo>
                        <a:pt x="5121" y="581"/>
                        <a:pt x="4964" y="679"/>
                        <a:pt x="4964" y="667"/>
                      </a:cubicBezTo>
                      <a:cubicBezTo>
                        <a:pt x="4952" y="667"/>
                        <a:pt x="4937" y="652"/>
                        <a:pt x="4908" y="638"/>
                      </a:cubicBezTo>
                      <a:cubicBezTo>
                        <a:pt x="4824" y="638"/>
                        <a:pt x="4795" y="525"/>
                        <a:pt x="4712" y="552"/>
                      </a:cubicBezTo>
                      <a:cubicBezTo>
                        <a:pt x="4640" y="581"/>
                        <a:pt x="4596" y="427"/>
                        <a:pt x="4569" y="356"/>
                      </a:cubicBezTo>
                      <a:cubicBezTo>
                        <a:pt x="4484" y="172"/>
                        <a:pt x="4116" y="356"/>
                        <a:pt x="4045" y="214"/>
                      </a:cubicBezTo>
                      <a:cubicBezTo>
                        <a:pt x="4003" y="116"/>
                        <a:pt x="3861" y="383"/>
                        <a:pt x="3775" y="243"/>
                      </a:cubicBezTo>
                      <a:cubicBezTo>
                        <a:pt x="3719" y="142"/>
                        <a:pt x="3479" y="0"/>
                        <a:pt x="3479" y="172"/>
                      </a:cubicBezTo>
                      <a:cubicBezTo>
                        <a:pt x="3479" y="255"/>
                        <a:pt x="3437" y="255"/>
                        <a:pt x="3550" y="299"/>
                      </a:cubicBezTo>
                      <a:cubicBezTo>
                        <a:pt x="3550" y="468"/>
                        <a:pt x="3508" y="326"/>
                        <a:pt x="3422" y="312"/>
                      </a:cubicBezTo>
                      <a:cubicBezTo>
                        <a:pt x="3295" y="285"/>
                        <a:pt x="3339" y="172"/>
                        <a:pt x="3211" y="326"/>
                      </a:cubicBezTo>
                      <a:cubicBezTo>
                        <a:pt x="3211" y="397"/>
                        <a:pt x="3155" y="397"/>
                        <a:pt x="3126" y="439"/>
                      </a:cubicBezTo>
                      <a:cubicBezTo>
                        <a:pt x="3096" y="483"/>
                        <a:pt x="3197" y="495"/>
                        <a:pt x="3155" y="540"/>
                      </a:cubicBezTo>
                      <a:cubicBezTo>
                        <a:pt x="3140" y="552"/>
                        <a:pt x="2927" y="567"/>
                        <a:pt x="2912" y="552"/>
                      </a:cubicBezTo>
                      <a:cubicBezTo>
                        <a:pt x="2900" y="552"/>
                        <a:pt x="2844" y="540"/>
                        <a:pt x="2844" y="567"/>
                      </a:cubicBezTo>
                      <a:cubicBezTo>
                        <a:pt x="2743" y="623"/>
                        <a:pt x="2829" y="567"/>
                        <a:pt x="2728" y="581"/>
                      </a:cubicBezTo>
                      <a:cubicBezTo>
                        <a:pt x="2603" y="581"/>
                        <a:pt x="2603" y="581"/>
                        <a:pt x="2603" y="581"/>
                      </a:cubicBezTo>
                      <a:cubicBezTo>
                        <a:pt x="2603" y="611"/>
                        <a:pt x="2630" y="638"/>
                        <a:pt x="2645" y="652"/>
                      </a:cubicBezTo>
                      <a:cubicBezTo>
                        <a:pt x="2645" y="709"/>
                        <a:pt x="2603" y="667"/>
                        <a:pt x="2645" y="750"/>
                      </a:cubicBezTo>
                      <a:cubicBezTo>
                        <a:pt x="2657" y="765"/>
                        <a:pt x="2687" y="821"/>
                        <a:pt x="2716" y="836"/>
                      </a:cubicBezTo>
                      <a:cubicBezTo>
                        <a:pt x="2716" y="863"/>
                        <a:pt x="2672" y="907"/>
                        <a:pt x="2645" y="922"/>
                      </a:cubicBezTo>
                      <a:cubicBezTo>
                        <a:pt x="2645" y="964"/>
                        <a:pt x="2701" y="1035"/>
                        <a:pt x="2616" y="1047"/>
                      </a:cubicBezTo>
                      <a:cubicBezTo>
                        <a:pt x="2417" y="1091"/>
                        <a:pt x="2417" y="1091"/>
                        <a:pt x="2417" y="1091"/>
                      </a:cubicBezTo>
                      <a:cubicBezTo>
                        <a:pt x="2290" y="1106"/>
                        <a:pt x="2263" y="878"/>
                        <a:pt x="2165" y="1106"/>
                      </a:cubicBezTo>
                      <a:cubicBezTo>
                        <a:pt x="2106" y="1204"/>
                        <a:pt x="2094" y="1231"/>
                        <a:pt x="1981" y="1275"/>
                      </a:cubicBezTo>
                      <a:cubicBezTo>
                        <a:pt x="1866" y="1302"/>
                        <a:pt x="1569" y="1204"/>
                        <a:pt x="1542" y="1317"/>
                      </a:cubicBezTo>
                      <a:cubicBezTo>
                        <a:pt x="1513" y="1444"/>
                        <a:pt x="1059" y="1388"/>
                        <a:pt x="946" y="1486"/>
                      </a:cubicBezTo>
                      <a:cubicBezTo>
                        <a:pt x="863" y="1557"/>
                        <a:pt x="579" y="1557"/>
                        <a:pt x="436" y="1613"/>
                      </a:cubicBezTo>
                      <a:cubicBezTo>
                        <a:pt x="324" y="1657"/>
                        <a:pt x="226" y="1714"/>
                        <a:pt x="155" y="1741"/>
                      </a:cubicBezTo>
                      <a:lnTo>
                        <a:pt x="155" y="1741"/>
                      </a:lnTo>
                      <a:cubicBezTo>
                        <a:pt x="169" y="1924"/>
                        <a:pt x="169" y="1924"/>
                        <a:pt x="169" y="1924"/>
                      </a:cubicBezTo>
                      <a:cubicBezTo>
                        <a:pt x="140" y="2040"/>
                        <a:pt x="297" y="2165"/>
                        <a:pt x="267" y="2265"/>
                      </a:cubicBezTo>
                      <a:cubicBezTo>
                        <a:pt x="240" y="2322"/>
                        <a:pt x="125" y="2434"/>
                        <a:pt x="282" y="2434"/>
                      </a:cubicBezTo>
                      <a:cubicBezTo>
                        <a:pt x="395" y="2434"/>
                        <a:pt x="365" y="2476"/>
                        <a:pt x="409" y="2562"/>
                      </a:cubicBezTo>
                      <a:cubicBezTo>
                        <a:pt x="493" y="2704"/>
                        <a:pt x="309" y="2662"/>
                        <a:pt x="211" y="2719"/>
                      </a:cubicBezTo>
                      <a:cubicBezTo>
                        <a:pt x="113" y="2775"/>
                        <a:pt x="0" y="2719"/>
                        <a:pt x="42" y="2888"/>
                      </a:cubicBezTo>
                      <a:cubicBezTo>
                        <a:pt x="69" y="2944"/>
                        <a:pt x="69" y="3099"/>
                        <a:pt x="125" y="3113"/>
                      </a:cubicBezTo>
                      <a:cubicBezTo>
                        <a:pt x="240" y="3113"/>
                        <a:pt x="211" y="3354"/>
                        <a:pt x="184" y="3425"/>
                      </a:cubicBezTo>
                      <a:cubicBezTo>
                        <a:pt x="169" y="3481"/>
                        <a:pt x="184" y="3582"/>
                        <a:pt x="184" y="3623"/>
                      </a:cubicBezTo>
                      <a:cubicBezTo>
                        <a:pt x="184" y="3721"/>
                        <a:pt x="253" y="3650"/>
                        <a:pt x="309" y="3694"/>
                      </a:cubicBezTo>
                      <a:cubicBezTo>
                        <a:pt x="297" y="3709"/>
                        <a:pt x="353" y="3961"/>
                        <a:pt x="338" y="4020"/>
                      </a:cubicBezTo>
                      <a:cubicBezTo>
                        <a:pt x="309" y="4189"/>
                        <a:pt x="409" y="4145"/>
                        <a:pt x="466" y="4260"/>
                      </a:cubicBezTo>
                      <a:cubicBezTo>
                        <a:pt x="537" y="4373"/>
                        <a:pt x="226" y="4359"/>
                        <a:pt x="155" y="4430"/>
                      </a:cubicBezTo>
                      <a:cubicBezTo>
                        <a:pt x="98" y="4457"/>
                        <a:pt x="98" y="4572"/>
                        <a:pt x="155" y="4613"/>
                      </a:cubicBezTo>
                      <a:cubicBezTo>
                        <a:pt x="240" y="4655"/>
                        <a:pt x="380" y="4613"/>
                        <a:pt x="481" y="4670"/>
                      </a:cubicBezTo>
                      <a:cubicBezTo>
                        <a:pt x="593" y="4712"/>
                        <a:pt x="409" y="4756"/>
                        <a:pt x="365" y="4756"/>
                      </a:cubicBezTo>
                      <a:cubicBezTo>
                        <a:pt x="297" y="4756"/>
                        <a:pt x="253" y="4756"/>
                        <a:pt x="211" y="4827"/>
                      </a:cubicBezTo>
                      <a:cubicBezTo>
                        <a:pt x="169" y="4895"/>
                        <a:pt x="27" y="4839"/>
                        <a:pt x="42" y="4981"/>
                      </a:cubicBezTo>
                      <a:cubicBezTo>
                        <a:pt x="54" y="5079"/>
                        <a:pt x="69" y="5192"/>
                        <a:pt x="69" y="5278"/>
                      </a:cubicBezTo>
                      <a:cubicBezTo>
                        <a:pt x="54" y="5533"/>
                        <a:pt x="54" y="5533"/>
                        <a:pt x="54" y="5533"/>
                      </a:cubicBezTo>
                    </a:path>
                  </a:pathLst>
                </a:custGeom>
                <a:solidFill>
                  <a:schemeClr val="accent5"/>
                </a:solidFill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/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  <p:sp>
              <p:nvSpPr>
                <p:cNvPr id="38" name="Freeform 6"/>
                <p:cNvSpPr>
                  <a:spLocks noChangeArrowheads="1"/>
                </p:cNvSpPr>
                <p:nvPr/>
              </p:nvSpPr>
              <p:spPr bwMode="auto">
                <a:xfrm>
                  <a:off x="6673433" y="2199521"/>
                  <a:ext cx="1667926" cy="2413718"/>
                </a:xfrm>
                <a:custGeom>
                  <a:avLst/>
                  <a:gdLst>
                    <a:gd name="T0" fmla="*/ 7216 w 9352"/>
                    <a:gd name="T1" fmla="*/ 367 h 12338"/>
                    <a:gd name="T2" fmla="*/ 7456 w 9352"/>
                    <a:gd name="T3" fmla="*/ 1005 h 12338"/>
                    <a:gd name="T4" fmla="*/ 7172 w 9352"/>
                    <a:gd name="T5" fmla="*/ 1556 h 12338"/>
                    <a:gd name="T6" fmla="*/ 7356 w 9352"/>
                    <a:gd name="T7" fmla="*/ 2137 h 12338"/>
                    <a:gd name="T8" fmla="*/ 7202 w 9352"/>
                    <a:gd name="T9" fmla="*/ 2873 h 12338"/>
                    <a:gd name="T10" fmla="*/ 7412 w 9352"/>
                    <a:gd name="T11" fmla="*/ 3199 h 12338"/>
                    <a:gd name="T12" fmla="*/ 7116 w 9352"/>
                    <a:gd name="T13" fmla="*/ 3721 h 12338"/>
                    <a:gd name="T14" fmla="*/ 6876 w 9352"/>
                    <a:gd name="T15" fmla="*/ 4074 h 12338"/>
                    <a:gd name="T16" fmla="*/ 6197 w 9352"/>
                    <a:gd name="T17" fmla="*/ 5206 h 12338"/>
                    <a:gd name="T18" fmla="*/ 6366 w 9352"/>
                    <a:gd name="T19" fmla="*/ 6027 h 12338"/>
                    <a:gd name="T20" fmla="*/ 6424 w 9352"/>
                    <a:gd name="T21" fmla="*/ 6522 h 12338"/>
                    <a:gd name="T22" fmla="*/ 6692 w 9352"/>
                    <a:gd name="T23" fmla="*/ 7018 h 12338"/>
                    <a:gd name="T24" fmla="*/ 7640 w 9352"/>
                    <a:gd name="T25" fmla="*/ 7344 h 12338"/>
                    <a:gd name="T26" fmla="*/ 8687 w 9352"/>
                    <a:gd name="T27" fmla="*/ 7711 h 12338"/>
                    <a:gd name="T28" fmla="*/ 9280 w 9352"/>
                    <a:gd name="T29" fmla="*/ 7697 h 12338"/>
                    <a:gd name="T30" fmla="*/ 8998 w 9352"/>
                    <a:gd name="T31" fmla="*/ 8278 h 12338"/>
                    <a:gd name="T32" fmla="*/ 8008 w 9352"/>
                    <a:gd name="T33" fmla="*/ 9437 h 12338"/>
                    <a:gd name="T34" fmla="*/ 7471 w 9352"/>
                    <a:gd name="T35" fmla="*/ 10314 h 12338"/>
                    <a:gd name="T36" fmla="*/ 6876 w 9352"/>
                    <a:gd name="T37" fmla="*/ 10753 h 12338"/>
                    <a:gd name="T38" fmla="*/ 5532 w 9352"/>
                    <a:gd name="T39" fmla="*/ 10893 h 12338"/>
                    <a:gd name="T40" fmla="*/ 5248 w 9352"/>
                    <a:gd name="T41" fmla="*/ 11403 h 12338"/>
                    <a:gd name="T42" fmla="*/ 4868 w 9352"/>
                    <a:gd name="T43" fmla="*/ 12138 h 12338"/>
                    <a:gd name="T44" fmla="*/ 4500 w 9352"/>
                    <a:gd name="T45" fmla="*/ 12168 h 12338"/>
                    <a:gd name="T46" fmla="*/ 4005 w 9352"/>
                    <a:gd name="T47" fmla="*/ 11587 h 12338"/>
                    <a:gd name="T48" fmla="*/ 3664 w 9352"/>
                    <a:gd name="T49" fmla="*/ 11020 h 12338"/>
                    <a:gd name="T50" fmla="*/ 3098 w 9352"/>
                    <a:gd name="T51" fmla="*/ 10795 h 12338"/>
                    <a:gd name="T52" fmla="*/ 2873 w 9352"/>
                    <a:gd name="T53" fmla="*/ 10101 h 12338"/>
                    <a:gd name="T54" fmla="*/ 3042 w 9352"/>
                    <a:gd name="T55" fmla="*/ 9253 h 12338"/>
                    <a:gd name="T56" fmla="*/ 3083 w 9352"/>
                    <a:gd name="T57" fmla="*/ 8334 h 12338"/>
                    <a:gd name="T58" fmla="*/ 2674 w 9352"/>
                    <a:gd name="T59" fmla="*/ 7554 h 12338"/>
                    <a:gd name="T60" fmla="*/ 2618 w 9352"/>
                    <a:gd name="T61" fmla="*/ 7032 h 12338"/>
                    <a:gd name="T62" fmla="*/ 2108 w 9352"/>
                    <a:gd name="T63" fmla="*/ 6721 h 12338"/>
                    <a:gd name="T64" fmla="*/ 1853 w 9352"/>
                    <a:gd name="T65" fmla="*/ 6665 h 12338"/>
                    <a:gd name="T66" fmla="*/ 1654 w 9352"/>
                    <a:gd name="T67" fmla="*/ 6466 h 12338"/>
                    <a:gd name="T68" fmla="*/ 1215 w 9352"/>
                    <a:gd name="T69" fmla="*/ 6380 h 12338"/>
                    <a:gd name="T70" fmla="*/ 465 w 9352"/>
                    <a:gd name="T71" fmla="*/ 5986 h 12338"/>
                    <a:gd name="T72" fmla="*/ 240 w 9352"/>
                    <a:gd name="T73" fmla="*/ 5574 h 12338"/>
                    <a:gd name="T74" fmla="*/ 269 w 9352"/>
                    <a:gd name="T75" fmla="*/ 5375 h 12338"/>
                    <a:gd name="T76" fmla="*/ 934 w 9352"/>
                    <a:gd name="T77" fmla="*/ 4937 h 12338"/>
                    <a:gd name="T78" fmla="*/ 1144 w 9352"/>
                    <a:gd name="T79" fmla="*/ 4387 h 12338"/>
                    <a:gd name="T80" fmla="*/ 948 w 9352"/>
                    <a:gd name="T81" fmla="*/ 4145 h 12338"/>
                    <a:gd name="T82" fmla="*/ 1159 w 9352"/>
                    <a:gd name="T83" fmla="*/ 3679 h 12338"/>
                    <a:gd name="T84" fmla="*/ 1399 w 9352"/>
                    <a:gd name="T85" fmla="*/ 3424 h 12338"/>
                    <a:gd name="T86" fmla="*/ 2066 w 9352"/>
                    <a:gd name="T87" fmla="*/ 3439 h 12338"/>
                    <a:gd name="T88" fmla="*/ 2250 w 9352"/>
                    <a:gd name="T89" fmla="*/ 3155 h 12338"/>
                    <a:gd name="T90" fmla="*/ 1399 w 9352"/>
                    <a:gd name="T91" fmla="*/ 2772 h 12338"/>
                    <a:gd name="T92" fmla="*/ 1755 w 9352"/>
                    <a:gd name="T93" fmla="*/ 2520 h 12338"/>
                    <a:gd name="T94" fmla="*/ 1287 w 9352"/>
                    <a:gd name="T95" fmla="*/ 2208 h 12338"/>
                    <a:gd name="T96" fmla="*/ 1301 w 9352"/>
                    <a:gd name="T97" fmla="*/ 1995 h 12338"/>
                    <a:gd name="T98" fmla="*/ 1230 w 9352"/>
                    <a:gd name="T99" fmla="*/ 1627 h 12338"/>
                    <a:gd name="T100" fmla="*/ 1458 w 9352"/>
                    <a:gd name="T101" fmla="*/ 1613 h 12338"/>
                    <a:gd name="T102" fmla="*/ 1740 w 9352"/>
                    <a:gd name="T103" fmla="*/ 1387 h 12338"/>
                    <a:gd name="T104" fmla="*/ 2051 w 9352"/>
                    <a:gd name="T105" fmla="*/ 1471 h 12338"/>
                    <a:gd name="T106" fmla="*/ 2348 w 9352"/>
                    <a:gd name="T107" fmla="*/ 1571 h 12338"/>
                    <a:gd name="T108" fmla="*/ 2914 w 9352"/>
                    <a:gd name="T109" fmla="*/ 1402 h 12338"/>
                    <a:gd name="T110" fmla="*/ 3297 w 9352"/>
                    <a:gd name="T111" fmla="*/ 1245 h 12338"/>
                    <a:gd name="T112" fmla="*/ 4074 w 9352"/>
                    <a:gd name="T113" fmla="*/ 1061 h 12338"/>
                    <a:gd name="T114" fmla="*/ 4767 w 9352"/>
                    <a:gd name="T115" fmla="*/ 863 h 12338"/>
                    <a:gd name="T116" fmla="*/ 5802 w 9352"/>
                    <a:gd name="T117" fmla="*/ 622 h 12338"/>
                    <a:gd name="T118" fmla="*/ 6466 w 9352"/>
                    <a:gd name="T119" fmla="*/ 296 h 12338"/>
                    <a:gd name="T120" fmla="*/ 7047 w 9352"/>
                    <a:gd name="T121" fmla="*/ 0 h 123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9352" h="12338">
                      <a:moveTo>
                        <a:pt x="7202" y="184"/>
                      </a:moveTo>
                      <a:lnTo>
                        <a:pt x="7202" y="184"/>
                      </a:lnTo>
                      <a:cubicBezTo>
                        <a:pt x="7216" y="367"/>
                        <a:pt x="7216" y="367"/>
                        <a:pt x="7216" y="367"/>
                      </a:cubicBezTo>
                      <a:cubicBezTo>
                        <a:pt x="7187" y="483"/>
                        <a:pt x="7344" y="608"/>
                        <a:pt x="7314" y="708"/>
                      </a:cubicBezTo>
                      <a:cubicBezTo>
                        <a:pt x="7287" y="765"/>
                        <a:pt x="7172" y="877"/>
                        <a:pt x="7329" y="877"/>
                      </a:cubicBezTo>
                      <a:cubicBezTo>
                        <a:pt x="7442" y="877"/>
                        <a:pt x="7412" y="919"/>
                        <a:pt x="7456" y="1005"/>
                      </a:cubicBezTo>
                      <a:cubicBezTo>
                        <a:pt x="7540" y="1147"/>
                        <a:pt x="7356" y="1105"/>
                        <a:pt x="7258" y="1162"/>
                      </a:cubicBezTo>
                      <a:cubicBezTo>
                        <a:pt x="7160" y="1218"/>
                        <a:pt x="7047" y="1162"/>
                        <a:pt x="7089" y="1331"/>
                      </a:cubicBezTo>
                      <a:cubicBezTo>
                        <a:pt x="7116" y="1387"/>
                        <a:pt x="7116" y="1542"/>
                        <a:pt x="7172" y="1556"/>
                      </a:cubicBezTo>
                      <a:cubicBezTo>
                        <a:pt x="7287" y="1556"/>
                        <a:pt x="7258" y="1797"/>
                        <a:pt x="7231" y="1868"/>
                      </a:cubicBezTo>
                      <a:cubicBezTo>
                        <a:pt x="7216" y="1924"/>
                        <a:pt x="7231" y="2025"/>
                        <a:pt x="7231" y="2066"/>
                      </a:cubicBezTo>
                      <a:cubicBezTo>
                        <a:pt x="7231" y="2164"/>
                        <a:pt x="7300" y="2093"/>
                        <a:pt x="7356" y="2137"/>
                      </a:cubicBezTo>
                      <a:cubicBezTo>
                        <a:pt x="7344" y="2152"/>
                        <a:pt x="7400" y="2404"/>
                        <a:pt x="7385" y="2463"/>
                      </a:cubicBezTo>
                      <a:cubicBezTo>
                        <a:pt x="7356" y="2632"/>
                        <a:pt x="7456" y="2588"/>
                        <a:pt x="7513" y="2703"/>
                      </a:cubicBezTo>
                      <a:cubicBezTo>
                        <a:pt x="7584" y="2816"/>
                        <a:pt x="7273" y="2802"/>
                        <a:pt x="7202" y="2873"/>
                      </a:cubicBezTo>
                      <a:cubicBezTo>
                        <a:pt x="7145" y="2900"/>
                        <a:pt x="7145" y="3015"/>
                        <a:pt x="7202" y="3056"/>
                      </a:cubicBezTo>
                      <a:cubicBezTo>
                        <a:pt x="7287" y="3098"/>
                        <a:pt x="7427" y="3056"/>
                        <a:pt x="7528" y="3113"/>
                      </a:cubicBezTo>
                      <a:cubicBezTo>
                        <a:pt x="7640" y="3155"/>
                        <a:pt x="7456" y="3199"/>
                        <a:pt x="7412" y="3199"/>
                      </a:cubicBezTo>
                      <a:cubicBezTo>
                        <a:pt x="7344" y="3199"/>
                        <a:pt x="7300" y="3199"/>
                        <a:pt x="7258" y="3270"/>
                      </a:cubicBezTo>
                      <a:cubicBezTo>
                        <a:pt x="7216" y="3338"/>
                        <a:pt x="7074" y="3282"/>
                        <a:pt x="7089" y="3424"/>
                      </a:cubicBezTo>
                      <a:cubicBezTo>
                        <a:pt x="7101" y="3522"/>
                        <a:pt x="7116" y="3635"/>
                        <a:pt x="7116" y="3721"/>
                      </a:cubicBezTo>
                      <a:cubicBezTo>
                        <a:pt x="7101" y="3976"/>
                        <a:pt x="7101" y="3976"/>
                        <a:pt x="7101" y="3976"/>
                      </a:cubicBezTo>
                      <a:lnTo>
                        <a:pt x="7101" y="3976"/>
                      </a:lnTo>
                      <a:cubicBezTo>
                        <a:pt x="6876" y="4074"/>
                        <a:pt x="6876" y="4074"/>
                        <a:pt x="6876" y="4074"/>
                      </a:cubicBezTo>
                      <a:cubicBezTo>
                        <a:pt x="6961" y="4216"/>
                        <a:pt x="6947" y="4444"/>
                        <a:pt x="6819" y="4527"/>
                      </a:cubicBezTo>
                      <a:cubicBezTo>
                        <a:pt x="6621" y="4669"/>
                        <a:pt x="6834" y="4995"/>
                        <a:pt x="6493" y="5079"/>
                      </a:cubicBezTo>
                      <a:cubicBezTo>
                        <a:pt x="6437" y="5093"/>
                        <a:pt x="6170" y="5108"/>
                        <a:pt x="6197" y="5206"/>
                      </a:cubicBezTo>
                      <a:cubicBezTo>
                        <a:pt x="6211" y="5307"/>
                        <a:pt x="6437" y="5348"/>
                        <a:pt x="6437" y="5461"/>
                      </a:cubicBezTo>
                      <a:cubicBezTo>
                        <a:pt x="6481" y="5532"/>
                        <a:pt x="6466" y="5745"/>
                        <a:pt x="6424" y="5814"/>
                      </a:cubicBezTo>
                      <a:cubicBezTo>
                        <a:pt x="6395" y="5885"/>
                        <a:pt x="6466" y="6027"/>
                        <a:pt x="6366" y="6027"/>
                      </a:cubicBezTo>
                      <a:cubicBezTo>
                        <a:pt x="6309" y="6042"/>
                        <a:pt x="6253" y="6125"/>
                        <a:pt x="6268" y="6182"/>
                      </a:cubicBezTo>
                      <a:cubicBezTo>
                        <a:pt x="6295" y="6253"/>
                        <a:pt x="6339" y="6253"/>
                        <a:pt x="6339" y="6324"/>
                      </a:cubicBezTo>
                      <a:cubicBezTo>
                        <a:pt x="6339" y="6493"/>
                        <a:pt x="6324" y="6437"/>
                        <a:pt x="6424" y="6522"/>
                      </a:cubicBezTo>
                      <a:cubicBezTo>
                        <a:pt x="6481" y="6564"/>
                        <a:pt x="6466" y="6665"/>
                        <a:pt x="6451" y="6736"/>
                      </a:cubicBezTo>
                      <a:cubicBezTo>
                        <a:pt x="6451" y="6819"/>
                        <a:pt x="6424" y="6905"/>
                        <a:pt x="6451" y="6988"/>
                      </a:cubicBezTo>
                      <a:cubicBezTo>
                        <a:pt x="6564" y="7018"/>
                        <a:pt x="6579" y="7201"/>
                        <a:pt x="6692" y="7018"/>
                      </a:cubicBezTo>
                      <a:cubicBezTo>
                        <a:pt x="6763" y="6890"/>
                        <a:pt x="6834" y="6848"/>
                        <a:pt x="6947" y="6947"/>
                      </a:cubicBezTo>
                      <a:cubicBezTo>
                        <a:pt x="7032" y="7032"/>
                        <a:pt x="7101" y="7032"/>
                        <a:pt x="7202" y="7074"/>
                      </a:cubicBezTo>
                      <a:cubicBezTo>
                        <a:pt x="7427" y="7216"/>
                        <a:pt x="7329" y="7299"/>
                        <a:pt x="7640" y="7344"/>
                      </a:cubicBezTo>
                      <a:cubicBezTo>
                        <a:pt x="7866" y="7371"/>
                        <a:pt x="7839" y="7400"/>
                        <a:pt x="8064" y="7344"/>
                      </a:cubicBezTo>
                      <a:cubicBezTo>
                        <a:pt x="8432" y="7273"/>
                        <a:pt x="8278" y="7584"/>
                        <a:pt x="8390" y="7738"/>
                      </a:cubicBezTo>
                      <a:cubicBezTo>
                        <a:pt x="8474" y="7853"/>
                        <a:pt x="8601" y="7768"/>
                        <a:pt x="8687" y="7711"/>
                      </a:cubicBezTo>
                      <a:cubicBezTo>
                        <a:pt x="8815" y="7625"/>
                        <a:pt x="8856" y="7697"/>
                        <a:pt x="8969" y="7697"/>
                      </a:cubicBezTo>
                      <a:cubicBezTo>
                        <a:pt x="9096" y="7738"/>
                        <a:pt x="9096" y="7738"/>
                        <a:pt x="9096" y="7738"/>
                      </a:cubicBezTo>
                      <a:cubicBezTo>
                        <a:pt x="9280" y="7697"/>
                        <a:pt x="9280" y="7697"/>
                        <a:pt x="9280" y="7697"/>
                      </a:cubicBezTo>
                      <a:lnTo>
                        <a:pt x="9280" y="7697"/>
                      </a:lnTo>
                      <a:cubicBezTo>
                        <a:pt x="9351" y="7910"/>
                        <a:pt x="9351" y="7910"/>
                        <a:pt x="9351" y="7910"/>
                      </a:cubicBezTo>
                      <a:cubicBezTo>
                        <a:pt x="9268" y="8135"/>
                        <a:pt x="9224" y="8162"/>
                        <a:pt x="8998" y="8278"/>
                      </a:cubicBezTo>
                      <a:cubicBezTo>
                        <a:pt x="8743" y="8405"/>
                        <a:pt x="8841" y="8616"/>
                        <a:pt x="8616" y="8702"/>
                      </a:cubicBezTo>
                      <a:cubicBezTo>
                        <a:pt x="8462" y="8758"/>
                        <a:pt x="8417" y="8841"/>
                        <a:pt x="8334" y="8983"/>
                      </a:cubicBezTo>
                      <a:cubicBezTo>
                        <a:pt x="8234" y="9167"/>
                        <a:pt x="8150" y="9295"/>
                        <a:pt x="8008" y="9437"/>
                      </a:cubicBezTo>
                      <a:cubicBezTo>
                        <a:pt x="7922" y="9535"/>
                        <a:pt x="7952" y="9707"/>
                        <a:pt x="7851" y="9775"/>
                      </a:cubicBezTo>
                      <a:cubicBezTo>
                        <a:pt x="7738" y="9861"/>
                        <a:pt x="7655" y="9903"/>
                        <a:pt x="7596" y="10030"/>
                      </a:cubicBezTo>
                      <a:cubicBezTo>
                        <a:pt x="7555" y="10101"/>
                        <a:pt x="7528" y="10270"/>
                        <a:pt x="7471" y="10314"/>
                      </a:cubicBezTo>
                      <a:cubicBezTo>
                        <a:pt x="7427" y="10356"/>
                        <a:pt x="7356" y="10356"/>
                        <a:pt x="7300" y="10413"/>
                      </a:cubicBezTo>
                      <a:cubicBezTo>
                        <a:pt x="7231" y="10484"/>
                        <a:pt x="7160" y="10569"/>
                        <a:pt x="7130" y="10653"/>
                      </a:cubicBezTo>
                      <a:cubicBezTo>
                        <a:pt x="7032" y="10881"/>
                        <a:pt x="7003" y="10709"/>
                        <a:pt x="6876" y="10753"/>
                      </a:cubicBezTo>
                      <a:cubicBezTo>
                        <a:pt x="6721" y="10753"/>
                        <a:pt x="6721" y="10795"/>
                        <a:pt x="6665" y="10922"/>
                      </a:cubicBezTo>
                      <a:cubicBezTo>
                        <a:pt x="6621" y="11020"/>
                        <a:pt x="6437" y="10979"/>
                        <a:pt x="6339" y="11035"/>
                      </a:cubicBezTo>
                      <a:cubicBezTo>
                        <a:pt x="6155" y="11148"/>
                        <a:pt x="5731" y="10937"/>
                        <a:pt x="5532" y="10893"/>
                      </a:cubicBezTo>
                      <a:cubicBezTo>
                        <a:pt x="5390" y="10866"/>
                        <a:pt x="5446" y="11077"/>
                        <a:pt x="5405" y="11163"/>
                      </a:cubicBezTo>
                      <a:cubicBezTo>
                        <a:pt x="5375" y="11204"/>
                        <a:pt x="5405" y="11275"/>
                        <a:pt x="5375" y="11332"/>
                      </a:cubicBezTo>
                      <a:cubicBezTo>
                        <a:pt x="5363" y="11376"/>
                        <a:pt x="5307" y="11403"/>
                        <a:pt x="5248" y="11403"/>
                      </a:cubicBezTo>
                      <a:cubicBezTo>
                        <a:pt x="5108" y="11388"/>
                        <a:pt x="5093" y="11432"/>
                        <a:pt x="5179" y="11560"/>
                      </a:cubicBezTo>
                      <a:cubicBezTo>
                        <a:pt x="5348" y="11871"/>
                        <a:pt x="4895" y="11643"/>
                        <a:pt x="4838" y="11800"/>
                      </a:cubicBezTo>
                      <a:cubicBezTo>
                        <a:pt x="4809" y="11883"/>
                        <a:pt x="4910" y="12025"/>
                        <a:pt x="4868" y="12138"/>
                      </a:cubicBezTo>
                      <a:cubicBezTo>
                        <a:pt x="4640" y="12337"/>
                        <a:pt x="4640" y="12337"/>
                        <a:pt x="4640" y="12337"/>
                      </a:cubicBezTo>
                      <a:lnTo>
                        <a:pt x="4640" y="12337"/>
                      </a:lnTo>
                      <a:cubicBezTo>
                        <a:pt x="4500" y="12168"/>
                        <a:pt x="4500" y="12168"/>
                        <a:pt x="4500" y="12168"/>
                      </a:cubicBezTo>
                      <a:cubicBezTo>
                        <a:pt x="4456" y="12055"/>
                        <a:pt x="4456" y="12055"/>
                        <a:pt x="4456" y="12055"/>
                      </a:cubicBezTo>
                      <a:cubicBezTo>
                        <a:pt x="4385" y="11954"/>
                        <a:pt x="4370" y="11815"/>
                        <a:pt x="4302" y="11714"/>
                      </a:cubicBezTo>
                      <a:cubicBezTo>
                        <a:pt x="4216" y="11616"/>
                        <a:pt x="4074" y="11699"/>
                        <a:pt x="4005" y="11587"/>
                      </a:cubicBezTo>
                      <a:cubicBezTo>
                        <a:pt x="3961" y="11489"/>
                        <a:pt x="3961" y="11444"/>
                        <a:pt x="3848" y="11403"/>
                      </a:cubicBezTo>
                      <a:cubicBezTo>
                        <a:pt x="3792" y="11361"/>
                        <a:pt x="3679" y="11332"/>
                        <a:pt x="3635" y="11261"/>
                      </a:cubicBezTo>
                      <a:cubicBezTo>
                        <a:pt x="3566" y="11163"/>
                        <a:pt x="3691" y="11091"/>
                        <a:pt x="3664" y="11020"/>
                      </a:cubicBezTo>
                      <a:cubicBezTo>
                        <a:pt x="3650" y="10979"/>
                        <a:pt x="3579" y="10952"/>
                        <a:pt x="3552" y="10908"/>
                      </a:cubicBezTo>
                      <a:cubicBezTo>
                        <a:pt x="3507" y="10851"/>
                        <a:pt x="3368" y="10964"/>
                        <a:pt x="3324" y="10993"/>
                      </a:cubicBezTo>
                      <a:cubicBezTo>
                        <a:pt x="3226" y="11020"/>
                        <a:pt x="3140" y="10866"/>
                        <a:pt x="3098" y="10795"/>
                      </a:cubicBezTo>
                      <a:cubicBezTo>
                        <a:pt x="3027" y="10682"/>
                        <a:pt x="2971" y="10454"/>
                        <a:pt x="2843" y="10398"/>
                      </a:cubicBezTo>
                      <a:cubicBezTo>
                        <a:pt x="2760" y="10356"/>
                        <a:pt x="2745" y="10270"/>
                        <a:pt x="2843" y="10270"/>
                      </a:cubicBezTo>
                      <a:cubicBezTo>
                        <a:pt x="3012" y="10270"/>
                        <a:pt x="2900" y="10199"/>
                        <a:pt x="2873" y="10101"/>
                      </a:cubicBezTo>
                      <a:cubicBezTo>
                        <a:pt x="2843" y="10030"/>
                        <a:pt x="2618" y="9790"/>
                        <a:pt x="2828" y="9790"/>
                      </a:cubicBezTo>
                      <a:cubicBezTo>
                        <a:pt x="3042" y="9805"/>
                        <a:pt x="2816" y="9606"/>
                        <a:pt x="2971" y="9464"/>
                      </a:cubicBezTo>
                      <a:cubicBezTo>
                        <a:pt x="3069" y="9381"/>
                        <a:pt x="2985" y="9324"/>
                        <a:pt x="3042" y="9253"/>
                      </a:cubicBezTo>
                      <a:cubicBezTo>
                        <a:pt x="3069" y="9211"/>
                        <a:pt x="3240" y="9096"/>
                        <a:pt x="3282" y="9126"/>
                      </a:cubicBezTo>
                      <a:cubicBezTo>
                        <a:pt x="3522" y="9238"/>
                        <a:pt x="3395" y="8856"/>
                        <a:pt x="3324" y="8758"/>
                      </a:cubicBezTo>
                      <a:cubicBezTo>
                        <a:pt x="3169" y="8630"/>
                        <a:pt x="3226" y="8461"/>
                        <a:pt x="3083" y="8334"/>
                      </a:cubicBezTo>
                      <a:cubicBezTo>
                        <a:pt x="2944" y="8206"/>
                        <a:pt x="2843" y="8023"/>
                        <a:pt x="2816" y="7839"/>
                      </a:cubicBezTo>
                      <a:cubicBezTo>
                        <a:pt x="2787" y="7655"/>
                        <a:pt x="2576" y="7866"/>
                        <a:pt x="2561" y="7726"/>
                      </a:cubicBezTo>
                      <a:cubicBezTo>
                        <a:pt x="2547" y="7625"/>
                        <a:pt x="2645" y="7611"/>
                        <a:pt x="2674" y="7554"/>
                      </a:cubicBezTo>
                      <a:cubicBezTo>
                        <a:pt x="2701" y="7554"/>
                        <a:pt x="2816" y="7483"/>
                        <a:pt x="2801" y="7442"/>
                      </a:cubicBezTo>
                      <a:cubicBezTo>
                        <a:pt x="2745" y="7400"/>
                        <a:pt x="2659" y="7344"/>
                        <a:pt x="2618" y="7287"/>
                      </a:cubicBezTo>
                      <a:cubicBezTo>
                        <a:pt x="2532" y="7187"/>
                        <a:pt x="2674" y="7116"/>
                        <a:pt x="2618" y="7032"/>
                      </a:cubicBezTo>
                      <a:cubicBezTo>
                        <a:pt x="2576" y="6976"/>
                        <a:pt x="2561" y="6932"/>
                        <a:pt x="2490" y="6961"/>
                      </a:cubicBezTo>
                      <a:cubicBezTo>
                        <a:pt x="2390" y="7003"/>
                        <a:pt x="2348" y="7130"/>
                        <a:pt x="2277" y="6988"/>
                      </a:cubicBezTo>
                      <a:cubicBezTo>
                        <a:pt x="2235" y="6905"/>
                        <a:pt x="2250" y="6665"/>
                        <a:pt x="2108" y="6721"/>
                      </a:cubicBezTo>
                      <a:cubicBezTo>
                        <a:pt x="1980" y="6777"/>
                        <a:pt x="1980" y="6777"/>
                        <a:pt x="1980" y="6777"/>
                      </a:cubicBezTo>
                      <a:lnTo>
                        <a:pt x="1980" y="6777"/>
                      </a:lnTo>
                      <a:cubicBezTo>
                        <a:pt x="1853" y="6665"/>
                        <a:pt x="1853" y="6665"/>
                        <a:pt x="1853" y="6665"/>
                      </a:cubicBezTo>
                      <a:cubicBezTo>
                        <a:pt x="1796" y="6522"/>
                        <a:pt x="1796" y="6522"/>
                        <a:pt x="1796" y="6522"/>
                      </a:cubicBezTo>
                      <a:cubicBezTo>
                        <a:pt x="1782" y="6481"/>
                        <a:pt x="1782" y="6481"/>
                        <a:pt x="1782" y="6481"/>
                      </a:cubicBezTo>
                      <a:cubicBezTo>
                        <a:pt x="1755" y="6451"/>
                        <a:pt x="1698" y="6451"/>
                        <a:pt x="1654" y="6466"/>
                      </a:cubicBezTo>
                      <a:cubicBezTo>
                        <a:pt x="1613" y="6481"/>
                        <a:pt x="1598" y="6451"/>
                        <a:pt x="1556" y="6437"/>
                      </a:cubicBezTo>
                      <a:cubicBezTo>
                        <a:pt x="1485" y="6424"/>
                        <a:pt x="1387" y="6466"/>
                        <a:pt x="1343" y="6410"/>
                      </a:cubicBezTo>
                      <a:cubicBezTo>
                        <a:pt x="1301" y="6380"/>
                        <a:pt x="1260" y="6395"/>
                        <a:pt x="1215" y="6380"/>
                      </a:cubicBezTo>
                      <a:cubicBezTo>
                        <a:pt x="1174" y="6368"/>
                        <a:pt x="1174" y="6339"/>
                        <a:pt x="1144" y="6309"/>
                      </a:cubicBezTo>
                      <a:cubicBezTo>
                        <a:pt x="1076" y="6238"/>
                        <a:pt x="1103" y="6182"/>
                        <a:pt x="1117" y="6113"/>
                      </a:cubicBezTo>
                      <a:cubicBezTo>
                        <a:pt x="934" y="6042"/>
                        <a:pt x="608" y="6155"/>
                        <a:pt x="465" y="5986"/>
                      </a:cubicBezTo>
                      <a:cubicBezTo>
                        <a:pt x="409" y="5915"/>
                        <a:pt x="510" y="5915"/>
                        <a:pt x="536" y="5858"/>
                      </a:cubicBezTo>
                      <a:cubicBezTo>
                        <a:pt x="595" y="5772"/>
                        <a:pt x="720" y="5814"/>
                        <a:pt x="608" y="5745"/>
                      </a:cubicBezTo>
                      <a:cubicBezTo>
                        <a:pt x="524" y="5701"/>
                        <a:pt x="282" y="5660"/>
                        <a:pt x="240" y="5574"/>
                      </a:cubicBezTo>
                      <a:cubicBezTo>
                        <a:pt x="225" y="5559"/>
                        <a:pt x="169" y="5674"/>
                        <a:pt x="127" y="5574"/>
                      </a:cubicBezTo>
                      <a:cubicBezTo>
                        <a:pt x="98" y="5532"/>
                        <a:pt x="0" y="5446"/>
                        <a:pt x="29" y="5375"/>
                      </a:cubicBezTo>
                      <a:cubicBezTo>
                        <a:pt x="269" y="5375"/>
                        <a:pt x="269" y="5375"/>
                        <a:pt x="269" y="5375"/>
                      </a:cubicBezTo>
                      <a:cubicBezTo>
                        <a:pt x="595" y="5066"/>
                        <a:pt x="595" y="5066"/>
                        <a:pt x="595" y="5066"/>
                      </a:cubicBezTo>
                      <a:cubicBezTo>
                        <a:pt x="836" y="5066"/>
                        <a:pt x="836" y="5066"/>
                        <a:pt x="836" y="5066"/>
                      </a:cubicBezTo>
                      <a:cubicBezTo>
                        <a:pt x="934" y="4937"/>
                        <a:pt x="934" y="4937"/>
                        <a:pt x="934" y="4937"/>
                      </a:cubicBezTo>
                      <a:cubicBezTo>
                        <a:pt x="1032" y="4937"/>
                        <a:pt x="1215" y="4824"/>
                        <a:pt x="1245" y="4740"/>
                      </a:cubicBezTo>
                      <a:cubicBezTo>
                        <a:pt x="1245" y="4696"/>
                        <a:pt x="1174" y="4429"/>
                        <a:pt x="1159" y="4387"/>
                      </a:cubicBezTo>
                      <a:cubicBezTo>
                        <a:pt x="1159" y="4387"/>
                        <a:pt x="1159" y="4387"/>
                        <a:pt x="1144" y="4387"/>
                      </a:cubicBezTo>
                      <a:cubicBezTo>
                        <a:pt x="1144" y="4373"/>
                        <a:pt x="1061" y="4358"/>
                        <a:pt x="1032" y="4358"/>
                      </a:cubicBezTo>
                      <a:cubicBezTo>
                        <a:pt x="1032" y="4343"/>
                        <a:pt x="1005" y="4358"/>
                        <a:pt x="1005" y="4343"/>
                      </a:cubicBezTo>
                      <a:cubicBezTo>
                        <a:pt x="975" y="4287"/>
                        <a:pt x="1046" y="4145"/>
                        <a:pt x="948" y="4145"/>
                      </a:cubicBezTo>
                      <a:cubicBezTo>
                        <a:pt x="848" y="4145"/>
                        <a:pt x="806" y="3934"/>
                        <a:pt x="877" y="3905"/>
                      </a:cubicBezTo>
                      <a:cubicBezTo>
                        <a:pt x="919" y="3878"/>
                        <a:pt x="975" y="3934"/>
                        <a:pt x="1005" y="3863"/>
                      </a:cubicBezTo>
                      <a:cubicBezTo>
                        <a:pt x="1046" y="3765"/>
                        <a:pt x="1103" y="3765"/>
                        <a:pt x="1159" y="3679"/>
                      </a:cubicBezTo>
                      <a:cubicBezTo>
                        <a:pt x="1331" y="3579"/>
                        <a:pt x="1215" y="3623"/>
                        <a:pt x="1215" y="3495"/>
                      </a:cubicBezTo>
                      <a:lnTo>
                        <a:pt x="1230" y="3495"/>
                      </a:lnTo>
                      <a:cubicBezTo>
                        <a:pt x="1301" y="3537"/>
                        <a:pt x="1358" y="3466"/>
                        <a:pt x="1399" y="3424"/>
                      </a:cubicBezTo>
                      <a:cubicBezTo>
                        <a:pt x="1458" y="3368"/>
                        <a:pt x="1485" y="3353"/>
                        <a:pt x="1527" y="3424"/>
                      </a:cubicBezTo>
                      <a:cubicBezTo>
                        <a:pt x="1583" y="3522"/>
                        <a:pt x="1711" y="3326"/>
                        <a:pt x="1826" y="3409"/>
                      </a:cubicBezTo>
                      <a:cubicBezTo>
                        <a:pt x="2022" y="3566"/>
                        <a:pt x="1897" y="3409"/>
                        <a:pt x="2066" y="3439"/>
                      </a:cubicBezTo>
                      <a:cubicBezTo>
                        <a:pt x="2149" y="3454"/>
                        <a:pt x="2221" y="3424"/>
                        <a:pt x="2277" y="3510"/>
                      </a:cubicBezTo>
                      <a:cubicBezTo>
                        <a:pt x="2377" y="3650"/>
                        <a:pt x="2561" y="3409"/>
                        <a:pt x="2532" y="3282"/>
                      </a:cubicBezTo>
                      <a:cubicBezTo>
                        <a:pt x="2520" y="3169"/>
                        <a:pt x="2333" y="3184"/>
                        <a:pt x="2250" y="3155"/>
                      </a:cubicBezTo>
                      <a:cubicBezTo>
                        <a:pt x="2164" y="3113"/>
                        <a:pt x="2122" y="3056"/>
                        <a:pt x="2066" y="2985"/>
                      </a:cubicBezTo>
                      <a:cubicBezTo>
                        <a:pt x="1939" y="2843"/>
                        <a:pt x="1909" y="3113"/>
                        <a:pt x="1740" y="2956"/>
                      </a:cubicBezTo>
                      <a:cubicBezTo>
                        <a:pt x="1627" y="2858"/>
                        <a:pt x="1399" y="2956"/>
                        <a:pt x="1399" y="2772"/>
                      </a:cubicBezTo>
                      <a:cubicBezTo>
                        <a:pt x="1399" y="2730"/>
                        <a:pt x="1358" y="2647"/>
                        <a:pt x="1399" y="2618"/>
                      </a:cubicBezTo>
                      <a:cubicBezTo>
                        <a:pt x="1458" y="2588"/>
                        <a:pt x="1515" y="2377"/>
                        <a:pt x="1583" y="2449"/>
                      </a:cubicBezTo>
                      <a:cubicBezTo>
                        <a:pt x="1642" y="2505"/>
                        <a:pt x="1642" y="2588"/>
                        <a:pt x="1755" y="2520"/>
                      </a:cubicBezTo>
                      <a:cubicBezTo>
                        <a:pt x="1882" y="2449"/>
                        <a:pt x="1953" y="2321"/>
                        <a:pt x="1767" y="2265"/>
                      </a:cubicBezTo>
                      <a:cubicBezTo>
                        <a:pt x="1627" y="2235"/>
                        <a:pt x="1598" y="2348"/>
                        <a:pt x="1458" y="2348"/>
                      </a:cubicBezTo>
                      <a:cubicBezTo>
                        <a:pt x="1372" y="2336"/>
                        <a:pt x="1358" y="2235"/>
                        <a:pt x="1287" y="2208"/>
                      </a:cubicBezTo>
                      <a:cubicBezTo>
                        <a:pt x="1274" y="2208"/>
                        <a:pt x="975" y="2221"/>
                        <a:pt x="1076" y="2123"/>
                      </a:cubicBezTo>
                      <a:cubicBezTo>
                        <a:pt x="1132" y="2066"/>
                        <a:pt x="1189" y="2164"/>
                        <a:pt x="1230" y="2152"/>
                      </a:cubicBezTo>
                      <a:cubicBezTo>
                        <a:pt x="1287" y="2123"/>
                        <a:pt x="1230" y="2010"/>
                        <a:pt x="1301" y="1995"/>
                      </a:cubicBezTo>
                      <a:cubicBezTo>
                        <a:pt x="1301" y="2010"/>
                        <a:pt x="1358" y="1995"/>
                        <a:pt x="1358" y="1980"/>
                      </a:cubicBezTo>
                      <a:cubicBezTo>
                        <a:pt x="1470" y="1868"/>
                        <a:pt x="1500" y="1841"/>
                        <a:pt x="1399" y="1725"/>
                      </a:cubicBezTo>
                      <a:cubicBezTo>
                        <a:pt x="1358" y="1613"/>
                        <a:pt x="1316" y="1669"/>
                        <a:pt x="1230" y="1627"/>
                      </a:cubicBezTo>
                      <a:cubicBezTo>
                        <a:pt x="1203" y="1627"/>
                        <a:pt x="1159" y="1654"/>
                        <a:pt x="1144" y="1613"/>
                      </a:cubicBezTo>
                      <a:cubicBezTo>
                        <a:pt x="1144" y="1556"/>
                        <a:pt x="1245" y="1515"/>
                        <a:pt x="1287" y="1500"/>
                      </a:cubicBezTo>
                      <a:cubicBezTo>
                        <a:pt x="1414" y="1458"/>
                        <a:pt x="1343" y="1642"/>
                        <a:pt x="1458" y="1613"/>
                      </a:cubicBezTo>
                      <a:cubicBezTo>
                        <a:pt x="1583" y="1586"/>
                        <a:pt x="1458" y="1471"/>
                        <a:pt x="1458" y="1402"/>
                      </a:cubicBezTo>
                      <a:cubicBezTo>
                        <a:pt x="1527" y="1372"/>
                        <a:pt x="1571" y="1316"/>
                        <a:pt x="1654" y="1287"/>
                      </a:cubicBezTo>
                      <a:cubicBezTo>
                        <a:pt x="1767" y="1260"/>
                        <a:pt x="1740" y="1301"/>
                        <a:pt x="1740" y="1387"/>
                      </a:cubicBezTo>
                      <a:cubicBezTo>
                        <a:pt x="1740" y="1402"/>
                        <a:pt x="1853" y="1529"/>
                        <a:pt x="1882" y="1485"/>
                      </a:cubicBezTo>
                      <a:cubicBezTo>
                        <a:pt x="1909" y="1458"/>
                        <a:pt x="1924" y="1414"/>
                        <a:pt x="1966" y="1414"/>
                      </a:cubicBezTo>
                      <a:cubicBezTo>
                        <a:pt x="2010" y="1402"/>
                        <a:pt x="2066" y="1429"/>
                        <a:pt x="2051" y="1471"/>
                      </a:cubicBezTo>
                      <a:cubicBezTo>
                        <a:pt x="2081" y="1500"/>
                        <a:pt x="2137" y="1414"/>
                        <a:pt x="2179" y="1414"/>
                      </a:cubicBezTo>
                      <a:cubicBezTo>
                        <a:pt x="2250" y="1414"/>
                        <a:pt x="2221" y="1471"/>
                        <a:pt x="2206" y="1500"/>
                      </a:cubicBezTo>
                      <a:cubicBezTo>
                        <a:pt x="2206" y="1542"/>
                        <a:pt x="2321" y="1571"/>
                        <a:pt x="2348" y="1571"/>
                      </a:cubicBezTo>
                      <a:cubicBezTo>
                        <a:pt x="2390" y="1571"/>
                        <a:pt x="2390" y="1556"/>
                        <a:pt x="2390" y="1515"/>
                      </a:cubicBezTo>
                      <a:cubicBezTo>
                        <a:pt x="2390" y="1414"/>
                        <a:pt x="2321" y="1414"/>
                        <a:pt x="2448" y="1372"/>
                      </a:cubicBezTo>
                      <a:cubicBezTo>
                        <a:pt x="2618" y="1429"/>
                        <a:pt x="2760" y="1346"/>
                        <a:pt x="2914" y="1402"/>
                      </a:cubicBezTo>
                      <a:cubicBezTo>
                        <a:pt x="2914" y="1414"/>
                        <a:pt x="2787" y="1444"/>
                        <a:pt x="2816" y="1485"/>
                      </a:cubicBezTo>
                      <a:cubicBezTo>
                        <a:pt x="2900" y="1654"/>
                        <a:pt x="3012" y="1684"/>
                        <a:pt x="3056" y="1485"/>
                      </a:cubicBezTo>
                      <a:cubicBezTo>
                        <a:pt x="3113" y="1274"/>
                        <a:pt x="3042" y="1331"/>
                        <a:pt x="3297" y="1245"/>
                      </a:cubicBezTo>
                      <a:cubicBezTo>
                        <a:pt x="3409" y="1218"/>
                        <a:pt x="3507" y="1260"/>
                        <a:pt x="3635" y="1260"/>
                      </a:cubicBezTo>
                      <a:cubicBezTo>
                        <a:pt x="3750" y="1260"/>
                        <a:pt x="3691" y="1162"/>
                        <a:pt x="3706" y="1118"/>
                      </a:cubicBezTo>
                      <a:cubicBezTo>
                        <a:pt x="3750" y="1034"/>
                        <a:pt x="4005" y="1076"/>
                        <a:pt x="4074" y="1061"/>
                      </a:cubicBezTo>
                      <a:cubicBezTo>
                        <a:pt x="4201" y="1034"/>
                        <a:pt x="4314" y="934"/>
                        <a:pt x="4441" y="907"/>
                      </a:cubicBezTo>
                      <a:cubicBezTo>
                        <a:pt x="4557" y="877"/>
                        <a:pt x="4557" y="1105"/>
                        <a:pt x="4669" y="1046"/>
                      </a:cubicBezTo>
                      <a:cubicBezTo>
                        <a:pt x="4767" y="1005"/>
                        <a:pt x="4598" y="919"/>
                        <a:pt x="4767" y="863"/>
                      </a:cubicBezTo>
                      <a:cubicBezTo>
                        <a:pt x="4868" y="821"/>
                        <a:pt x="4951" y="836"/>
                        <a:pt x="5079" y="792"/>
                      </a:cubicBezTo>
                      <a:cubicBezTo>
                        <a:pt x="5135" y="779"/>
                        <a:pt x="5191" y="806"/>
                        <a:pt x="5236" y="792"/>
                      </a:cubicBezTo>
                      <a:cubicBezTo>
                        <a:pt x="5419" y="735"/>
                        <a:pt x="5574" y="622"/>
                        <a:pt x="5802" y="622"/>
                      </a:cubicBezTo>
                      <a:cubicBezTo>
                        <a:pt x="5927" y="622"/>
                        <a:pt x="5942" y="821"/>
                        <a:pt x="6054" y="792"/>
                      </a:cubicBezTo>
                      <a:cubicBezTo>
                        <a:pt x="6155" y="765"/>
                        <a:pt x="6125" y="382"/>
                        <a:pt x="6211" y="326"/>
                      </a:cubicBezTo>
                      <a:cubicBezTo>
                        <a:pt x="6253" y="284"/>
                        <a:pt x="6410" y="284"/>
                        <a:pt x="6466" y="296"/>
                      </a:cubicBezTo>
                      <a:cubicBezTo>
                        <a:pt x="6523" y="326"/>
                        <a:pt x="6481" y="184"/>
                        <a:pt x="6493" y="113"/>
                      </a:cubicBezTo>
                      <a:cubicBezTo>
                        <a:pt x="6537" y="113"/>
                        <a:pt x="6621" y="171"/>
                        <a:pt x="6692" y="184"/>
                      </a:cubicBezTo>
                      <a:cubicBezTo>
                        <a:pt x="6932" y="296"/>
                        <a:pt x="6792" y="0"/>
                        <a:pt x="7047" y="0"/>
                      </a:cubicBezTo>
                      <a:cubicBezTo>
                        <a:pt x="7047" y="0"/>
                        <a:pt x="7047" y="0"/>
                        <a:pt x="7059" y="0"/>
                      </a:cubicBezTo>
                      <a:cubicBezTo>
                        <a:pt x="7059" y="184"/>
                        <a:pt x="7101" y="213"/>
                        <a:pt x="7202" y="184"/>
                      </a:cubicBezTo>
                    </a:path>
                  </a:pathLst>
                </a:custGeom>
                <a:solidFill>
                  <a:schemeClr val="accent5"/>
                </a:solidFill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/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  <p:sp>
              <p:nvSpPr>
                <p:cNvPr id="39" name="Freeform 10"/>
                <p:cNvSpPr>
                  <a:spLocks noChangeArrowheads="1"/>
                </p:cNvSpPr>
                <p:nvPr/>
              </p:nvSpPr>
              <p:spPr bwMode="auto">
                <a:xfrm>
                  <a:off x="9055397" y="3539229"/>
                  <a:ext cx="33028" cy="36231"/>
                </a:xfrm>
                <a:custGeom>
                  <a:avLst/>
                  <a:gdLst>
                    <a:gd name="T0" fmla="*/ 56 w 185"/>
                    <a:gd name="T1" fmla="*/ 13 h 185"/>
                    <a:gd name="T2" fmla="*/ 56 w 185"/>
                    <a:gd name="T3" fmla="*/ 13 h 185"/>
                    <a:gd name="T4" fmla="*/ 56 w 185"/>
                    <a:gd name="T5" fmla="*/ 13 h 185"/>
                    <a:gd name="T6" fmla="*/ 56 w 185"/>
                    <a:gd name="T7" fmla="*/ 13 h 185"/>
                    <a:gd name="T8" fmla="*/ 56 w 185"/>
                    <a:gd name="T9" fmla="*/ 13 h 185"/>
                    <a:gd name="T10" fmla="*/ 27 w 185"/>
                    <a:gd name="T11" fmla="*/ 27 h 185"/>
                    <a:gd name="T12" fmla="*/ 0 w 185"/>
                    <a:gd name="T13" fmla="*/ 84 h 185"/>
                    <a:gd name="T14" fmla="*/ 56 w 185"/>
                    <a:gd name="T15" fmla="*/ 155 h 185"/>
                    <a:gd name="T16" fmla="*/ 98 w 185"/>
                    <a:gd name="T17" fmla="*/ 155 h 185"/>
                    <a:gd name="T18" fmla="*/ 169 w 185"/>
                    <a:gd name="T19" fmla="*/ 155 h 185"/>
                    <a:gd name="T20" fmla="*/ 184 w 185"/>
                    <a:gd name="T21" fmla="*/ 99 h 185"/>
                    <a:gd name="T22" fmla="*/ 169 w 185"/>
                    <a:gd name="T23" fmla="*/ 69 h 185"/>
                    <a:gd name="T24" fmla="*/ 142 w 185"/>
                    <a:gd name="T25" fmla="*/ 27 h 185"/>
                    <a:gd name="T26" fmla="*/ 83 w 185"/>
                    <a:gd name="T27" fmla="*/ 13 h 185"/>
                    <a:gd name="T28" fmla="*/ 56 w 185"/>
                    <a:gd name="T29" fmla="*/ 13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85" h="185">
                      <a:moveTo>
                        <a:pt x="56" y="13"/>
                      </a:moveTo>
                      <a:lnTo>
                        <a:pt x="56" y="13"/>
                      </a:lnTo>
                      <a:lnTo>
                        <a:pt x="56" y="13"/>
                      </a:lnTo>
                      <a:lnTo>
                        <a:pt x="56" y="13"/>
                      </a:lnTo>
                      <a:lnTo>
                        <a:pt x="56" y="13"/>
                      </a:lnTo>
                      <a:cubicBezTo>
                        <a:pt x="41" y="13"/>
                        <a:pt x="12" y="0"/>
                        <a:pt x="27" y="27"/>
                      </a:cubicBezTo>
                      <a:cubicBezTo>
                        <a:pt x="27" y="42"/>
                        <a:pt x="0" y="57"/>
                        <a:pt x="0" y="84"/>
                      </a:cubicBezTo>
                      <a:cubicBezTo>
                        <a:pt x="0" y="99"/>
                        <a:pt x="41" y="155"/>
                        <a:pt x="56" y="155"/>
                      </a:cubicBezTo>
                      <a:cubicBezTo>
                        <a:pt x="71" y="155"/>
                        <a:pt x="83" y="155"/>
                        <a:pt x="98" y="155"/>
                      </a:cubicBezTo>
                      <a:cubicBezTo>
                        <a:pt x="127" y="170"/>
                        <a:pt x="127" y="184"/>
                        <a:pt x="169" y="155"/>
                      </a:cubicBezTo>
                      <a:cubicBezTo>
                        <a:pt x="184" y="140"/>
                        <a:pt x="184" y="128"/>
                        <a:pt x="184" y="99"/>
                      </a:cubicBezTo>
                      <a:cubicBezTo>
                        <a:pt x="184" y="84"/>
                        <a:pt x="184" y="84"/>
                        <a:pt x="169" y="69"/>
                      </a:cubicBezTo>
                      <a:cubicBezTo>
                        <a:pt x="154" y="57"/>
                        <a:pt x="154" y="42"/>
                        <a:pt x="142" y="27"/>
                      </a:cubicBezTo>
                      <a:cubicBezTo>
                        <a:pt x="127" y="13"/>
                        <a:pt x="98" y="13"/>
                        <a:pt x="83" y="13"/>
                      </a:cubicBezTo>
                      <a:lnTo>
                        <a:pt x="56" y="13"/>
                      </a:lnTo>
                    </a:path>
                  </a:pathLst>
                </a:custGeom>
                <a:grpFill/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8099" dir="2700000" algn="ctr" rotWithShape="0">
                          <a:srgbClr val="000000">
                            <a:alpha val="74998"/>
                          </a:srgbClr>
                        </a:outerShdw>
                      </a:effectLst>
                    </a14:hiddenEffects>
                  </a:ext>
                </a:extLst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  <p:sp>
              <p:nvSpPr>
                <p:cNvPr id="40" name="Freeform 11"/>
                <p:cNvSpPr>
                  <a:spLocks noChangeArrowheads="1"/>
                </p:cNvSpPr>
                <p:nvPr/>
              </p:nvSpPr>
              <p:spPr bwMode="auto">
                <a:xfrm>
                  <a:off x="7773587" y="2536819"/>
                  <a:ext cx="1892831" cy="1412171"/>
                </a:xfrm>
                <a:custGeom>
                  <a:avLst/>
                  <a:gdLst>
                    <a:gd name="T0" fmla="*/ 7243 w 10612"/>
                    <a:gd name="T1" fmla="*/ 5136 h 7218"/>
                    <a:gd name="T2" fmla="*/ 7243 w 10612"/>
                    <a:gd name="T3" fmla="*/ 5136 h 7218"/>
                    <a:gd name="T4" fmla="*/ 7214 w 10612"/>
                    <a:gd name="T5" fmla="*/ 5150 h 7218"/>
                    <a:gd name="T6" fmla="*/ 7243 w 10612"/>
                    <a:gd name="T7" fmla="*/ 5278 h 7218"/>
                    <a:gd name="T8" fmla="*/ 7356 w 10612"/>
                    <a:gd name="T9" fmla="*/ 5278 h 7218"/>
                    <a:gd name="T10" fmla="*/ 7356 w 10612"/>
                    <a:gd name="T11" fmla="*/ 5192 h 7218"/>
                    <a:gd name="T12" fmla="*/ 7270 w 10612"/>
                    <a:gd name="T13" fmla="*/ 5136 h 7218"/>
                    <a:gd name="T14" fmla="*/ 931 w 10612"/>
                    <a:gd name="T15" fmla="*/ 2251 h 7218"/>
                    <a:gd name="T16" fmla="*/ 1103 w 10612"/>
                    <a:gd name="T17" fmla="*/ 2435 h 7218"/>
                    <a:gd name="T18" fmla="*/ 1838 w 10612"/>
                    <a:gd name="T19" fmla="*/ 2547 h 7218"/>
                    <a:gd name="T20" fmla="*/ 2206 w 10612"/>
                    <a:gd name="T21" fmla="*/ 2604 h 7218"/>
                    <a:gd name="T22" fmla="*/ 2461 w 10612"/>
                    <a:gd name="T23" fmla="*/ 2307 h 7218"/>
                    <a:gd name="T24" fmla="*/ 3282 w 10612"/>
                    <a:gd name="T25" fmla="*/ 2408 h 7218"/>
                    <a:gd name="T26" fmla="*/ 3677 w 10612"/>
                    <a:gd name="T27" fmla="*/ 1910 h 7218"/>
                    <a:gd name="T28" fmla="*/ 4017 w 10612"/>
                    <a:gd name="T29" fmla="*/ 1657 h 7218"/>
                    <a:gd name="T30" fmla="*/ 4130 w 10612"/>
                    <a:gd name="T31" fmla="*/ 1331 h 7218"/>
                    <a:gd name="T32" fmla="*/ 3973 w 10612"/>
                    <a:gd name="T33" fmla="*/ 694 h 7218"/>
                    <a:gd name="T34" fmla="*/ 4314 w 10612"/>
                    <a:gd name="T35" fmla="*/ 243 h 7218"/>
                    <a:gd name="T36" fmla="*/ 4865 w 10612"/>
                    <a:gd name="T37" fmla="*/ 398 h 7218"/>
                    <a:gd name="T38" fmla="*/ 5361 w 10612"/>
                    <a:gd name="T39" fmla="*/ 243 h 7218"/>
                    <a:gd name="T40" fmla="*/ 5687 w 10612"/>
                    <a:gd name="T41" fmla="*/ 552 h 7218"/>
                    <a:gd name="T42" fmla="*/ 6324 w 10612"/>
                    <a:gd name="T43" fmla="*/ 724 h 7218"/>
                    <a:gd name="T44" fmla="*/ 6748 w 10612"/>
                    <a:gd name="T45" fmla="*/ 694 h 7218"/>
                    <a:gd name="T46" fmla="*/ 7143 w 10612"/>
                    <a:gd name="T47" fmla="*/ 836 h 7218"/>
                    <a:gd name="T48" fmla="*/ 8008 w 10612"/>
                    <a:gd name="T49" fmla="*/ 1670 h 7218"/>
                    <a:gd name="T50" fmla="*/ 8586 w 10612"/>
                    <a:gd name="T51" fmla="*/ 1557 h 7218"/>
                    <a:gd name="T52" fmla="*/ 9251 w 10612"/>
                    <a:gd name="T53" fmla="*/ 2052 h 7218"/>
                    <a:gd name="T54" fmla="*/ 9577 w 10612"/>
                    <a:gd name="T55" fmla="*/ 2123 h 7218"/>
                    <a:gd name="T56" fmla="*/ 10285 w 10612"/>
                    <a:gd name="T57" fmla="*/ 2393 h 7218"/>
                    <a:gd name="T58" fmla="*/ 10312 w 10612"/>
                    <a:gd name="T59" fmla="*/ 3525 h 7218"/>
                    <a:gd name="T60" fmla="*/ 10300 w 10612"/>
                    <a:gd name="T61" fmla="*/ 3680 h 7218"/>
                    <a:gd name="T62" fmla="*/ 10300 w 10612"/>
                    <a:gd name="T63" fmla="*/ 4118 h 7218"/>
                    <a:gd name="T64" fmla="*/ 10398 w 10612"/>
                    <a:gd name="T65" fmla="*/ 4344 h 7218"/>
                    <a:gd name="T66" fmla="*/ 10016 w 10612"/>
                    <a:gd name="T67" fmla="*/ 4444 h 7218"/>
                    <a:gd name="T68" fmla="*/ 9861 w 10612"/>
                    <a:gd name="T69" fmla="*/ 4670 h 7218"/>
                    <a:gd name="T70" fmla="*/ 9464 w 10612"/>
                    <a:gd name="T71" fmla="*/ 4643 h 7218"/>
                    <a:gd name="T72" fmla="*/ 9663 w 10612"/>
                    <a:gd name="T73" fmla="*/ 4940 h 7218"/>
                    <a:gd name="T74" fmla="*/ 9040 w 10612"/>
                    <a:gd name="T75" fmla="*/ 5435 h 7218"/>
                    <a:gd name="T76" fmla="*/ 8586 w 10612"/>
                    <a:gd name="T77" fmla="*/ 5859 h 7218"/>
                    <a:gd name="T78" fmla="*/ 8530 w 10612"/>
                    <a:gd name="T79" fmla="*/ 6028 h 7218"/>
                    <a:gd name="T80" fmla="*/ 7937 w 10612"/>
                    <a:gd name="T81" fmla="*/ 6381 h 7218"/>
                    <a:gd name="T82" fmla="*/ 7596 w 10612"/>
                    <a:gd name="T83" fmla="*/ 6283 h 7218"/>
                    <a:gd name="T84" fmla="*/ 7270 w 10612"/>
                    <a:gd name="T85" fmla="*/ 5874 h 7218"/>
                    <a:gd name="T86" fmla="*/ 6804 w 10612"/>
                    <a:gd name="T87" fmla="*/ 6212 h 7218"/>
                    <a:gd name="T88" fmla="*/ 6407 w 10612"/>
                    <a:gd name="T89" fmla="*/ 6636 h 7218"/>
                    <a:gd name="T90" fmla="*/ 5714 w 10612"/>
                    <a:gd name="T91" fmla="*/ 6991 h 7218"/>
                    <a:gd name="T92" fmla="*/ 4696 w 10612"/>
                    <a:gd name="T93" fmla="*/ 6579 h 7218"/>
                    <a:gd name="T94" fmla="*/ 4145 w 10612"/>
                    <a:gd name="T95" fmla="*/ 5829 h 7218"/>
                    <a:gd name="T96" fmla="*/ 3140 w 10612"/>
                    <a:gd name="T97" fmla="*/ 5829 h 7218"/>
                    <a:gd name="T98" fmla="*/ 3110 w 10612"/>
                    <a:gd name="T99" fmla="*/ 5972 h 7218"/>
                    <a:gd name="T100" fmla="*/ 2799 w 10612"/>
                    <a:gd name="T101" fmla="*/ 5972 h 7218"/>
                    <a:gd name="T102" fmla="*/ 2220 w 10612"/>
                    <a:gd name="T103" fmla="*/ 6013 h 7218"/>
                    <a:gd name="T104" fmla="*/ 1470 w 10612"/>
                    <a:gd name="T105" fmla="*/ 5619 h 7218"/>
                    <a:gd name="T106" fmla="*/ 777 w 10612"/>
                    <a:gd name="T107" fmla="*/ 5222 h 7218"/>
                    <a:gd name="T108" fmla="*/ 281 w 10612"/>
                    <a:gd name="T109" fmla="*/ 5263 h 7218"/>
                    <a:gd name="T110" fmla="*/ 254 w 10612"/>
                    <a:gd name="T111" fmla="*/ 4797 h 7218"/>
                    <a:gd name="T112" fmla="*/ 98 w 10612"/>
                    <a:gd name="T113" fmla="*/ 4457 h 7218"/>
                    <a:gd name="T114" fmla="*/ 254 w 10612"/>
                    <a:gd name="T115" fmla="*/ 4089 h 7218"/>
                    <a:gd name="T116" fmla="*/ 27 w 10612"/>
                    <a:gd name="T117" fmla="*/ 3481 h 7218"/>
                    <a:gd name="T118" fmla="*/ 649 w 10612"/>
                    <a:gd name="T119" fmla="*/ 2802 h 7218"/>
                    <a:gd name="T120" fmla="*/ 931 w 10612"/>
                    <a:gd name="T121" fmla="*/ 2251 h 72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0612" h="7218">
                      <a:moveTo>
                        <a:pt x="7243" y="5136"/>
                      </a:moveTo>
                      <a:lnTo>
                        <a:pt x="7243" y="5136"/>
                      </a:lnTo>
                      <a:lnTo>
                        <a:pt x="7243" y="5136"/>
                      </a:lnTo>
                      <a:lnTo>
                        <a:pt x="7243" y="5136"/>
                      </a:lnTo>
                      <a:lnTo>
                        <a:pt x="7243" y="5136"/>
                      </a:lnTo>
                      <a:cubicBezTo>
                        <a:pt x="7228" y="5136"/>
                        <a:pt x="7199" y="5123"/>
                        <a:pt x="7214" y="5150"/>
                      </a:cubicBezTo>
                      <a:cubicBezTo>
                        <a:pt x="7214" y="5165"/>
                        <a:pt x="7187" y="5180"/>
                        <a:pt x="7187" y="5207"/>
                      </a:cubicBezTo>
                      <a:cubicBezTo>
                        <a:pt x="7187" y="5222"/>
                        <a:pt x="7228" y="5278"/>
                        <a:pt x="7243" y="5278"/>
                      </a:cubicBezTo>
                      <a:cubicBezTo>
                        <a:pt x="7258" y="5278"/>
                        <a:pt x="7270" y="5278"/>
                        <a:pt x="7285" y="5278"/>
                      </a:cubicBezTo>
                      <a:cubicBezTo>
                        <a:pt x="7314" y="5293"/>
                        <a:pt x="7314" y="5307"/>
                        <a:pt x="7356" y="5278"/>
                      </a:cubicBezTo>
                      <a:cubicBezTo>
                        <a:pt x="7371" y="5263"/>
                        <a:pt x="7371" y="5251"/>
                        <a:pt x="7371" y="5222"/>
                      </a:cubicBezTo>
                      <a:cubicBezTo>
                        <a:pt x="7371" y="5207"/>
                        <a:pt x="7371" y="5207"/>
                        <a:pt x="7356" y="5192"/>
                      </a:cubicBezTo>
                      <a:cubicBezTo>
                        <a:pt x="7341" y="5180"/>
                        <a:pt x="7341" y="5165"/>
                        <a:pt x="7329" y="5150"/>
                      </a:cubicBezTo>
                      <a:cubicBezTo>
                        <a:pt x="7314" y="5136"/>
                        <a:pt x="7285" y="5136"/>
                        <a:pt x="7270" y="5136"/>
                      </a:cubicBezTo>
                      <a:cubicBezTo>
                        <a:pt x="7243" y="5136"/>
                        <a:pt x="7243" y="5136"/>
                        <a:pt x="7243" y="5136"/>
                      </a:cubicBezTo>
                      <a:close/>
                      <a:moveTo>
                        <a:pt x="931" y="2251"/>
                      </a:moveTo>
                      <a:lnTo>
                        <a:pt x="931" y="2251"/>
                      </a:lnTo>
                      <a:cubicBezTo>
                        <a:pt x="1032" y="2292"/>
                        <a:pt x="1032" y="2408"/>
                        <a:pt x="1103" y="2435"/>
                      </a:cubicBezTo>
                      <a:cubicBezTo>
                        <a:pt x="1174" y="2476"/>
                        <a:pt x="1556" y="2292"/>
                        <a:pt x="1556" y="2408"/>
                      </a:cubicBezTo>
                      <a:cubicBezTo>
                        <a:pt x="1556" y="2675"/>
                        <a:pt x="1669" y="2491"/>
                        <a:pt x="1838" y="2547"/>
                      </a:cubicBezTo>
                      <a:cubicBezTo>
                        <a:pt x="1880" y="2562"/>
                        <a:pt x="1894" y="2618"/>
                        <a:pt x="1951" y="2633"/>
                      </a:cubicBezTo>
                      <a:cubicBezTo>
                        <a:pt x="2037" y="2648"/>
                        <a:pt x="2120" y="2591"/>
                        <a:pt x="2206" y="2604"/>
                      </a:cubicBezTo>
                      <a:cubicBezTo>
                        <a:pt x="2277" y="2618"/>
                        <a:pt x="2404" y="2719"/>
                        <a:pt x="2404" y="2577"/>
                      </a:cubicBezTo>
                      <a:cubicBezTo>
                        <a:pt x="2404" y="2476"/>
                        <a:pt x="2333" y="2349"/>
                        <a:pt x="2461" y="2307"/>
                      </a:cubicBezTo>
                      <a:cubicBezTo>
                        <a:pt x="2716" y="2322"/>
                        <a:pt x="2728" y="2476"/>
                        <a:pt x="2914" y="2562"/>
                      </a:cubicBezTo>
                      <a:cubicBezTo>
                        <a:pt x="2983" y="2604"/>
                        <a:pt x="3225" y="2464"/>
                        <a:pt x="3282" y="2408"/>
                      </a:cubicBezTo>
                      <a:cubicBezTo>
                        <a:pt x="3350" y="2322"/>
                        <a:pt x="3154" y="2138"/>
                        <a:pt x="3294" y="2153"/>
                      </a:cubicBezTo>
                      <a:cubicBezTo>
                        <a:pt x="3395" y="2153"/>
                        <a:pt x="3650" y="2010"/>
                        <a:pt x="3677" y="1910"/>
                      </a:cubicBezTo>
                      <a:cubicBezTo>
                        <a:pt x="3721" y="1770"/>
                        <a:pt x="3733" y="1868"/>
                        <a:pt x="3819" y="1797"/>
                      </a:cubicBezTo>
                      <a:cubicBezTo>
                        <a:pt x="3904" y="1729"/>
                        <a:pt x="3890" y="1657"/>
                        <a:pt x="4017" y="1657"/>
                      </a:cubicBezTo>
                      <a:cubicBezTo>
                        <a:pt x="4201" y="1657"/>
                        <a:pt x="4003" y="1515"/>
                        <a:pt x="4017" y="1444"/>
                      </a:cubicBezTo>
                      <a:cubicBezTo>
                        <a:pt x="4032" y="1417"/>
                        <a:pt x="4103" y="1361"/>
                        <a:pt x="4130" y="1331"/>
                      </a:cubicBezTo>
                      <a:cubicBezTo>
                        <a:pt x="4159" y="1290"/>
                        <a:pt x="4201" y="1231"/>
                        <a:pt x="4201" y="1175"/>
                      </a:cubicBezTo>
                      <a:cubicBezTo>
                        <a:pt x="4228" y="964"/>
                        <a:pt x="4103" y="836"/>
                        <a:pt x="3973" y="694"/>
                      </a:cubicBezTo>
                      <a:cubicBezTo>
                        <a:pt x="3848" y="567"/>
                        <a:pt x="4017" y="439"/>
                        <a:pt x="4103" y="326"/>
                      </a:cubicBezTo>
                      <a:cubicBezTo>
                        <a:pt x="4172" y="243"/>
                        <a:pt x="4216" y="157"/>
                        <a:pt x="4314" y="243"/>
                      </a:cubicBezTo>
                      <a:cubicBezTo>
                        <a:pt x="4400" y="300"/>
                        <a:pt x="4711" y="0"/>
                        <a:pt x="4767" y="243"/>
                      </a:cubicBezTo>
                      <a:cubicBezTo>
                        <a:pt x="4767" y="285"/>
                        <a:pt x="4794" y="469"/>
                        <a:pt x="4865" y="398"/>
                      </a:cubicBezTo>
                      <a:cubicBezTo>
                        <a:pt x="4936" y="326"/>
                        <a:pt x="4895" y="243"/>
                        <a:pt x="5008" y="157"/>
                      </a:cubicBezTo>
                      <a:cubicBezTo>
                        <a:pt x="5049" y="157"/>
                        <a:pt x="5334" y="214"/>
                        <a:pt x="5361" y="243"/>
                      </a:cubicBezTo>
                      <a:cubicBezTo>
                        <a:pt x="5461" y="300"/>
                        <a:pt x="5405" y="427"/>
                        <a:pt x="5461" y="510"/>
                      </a:cubicBezTo>
                      <a:cubicBezTo>
                        <a:pt x="5503" y="596"/>
                        <a:pt x="5601" y="552"/>
                        <a:pt x="5687" y="552"/>
                      </a:cubicBezTo>
                      <a:cubicBezTo>
                        <a:pt x="5856" y="567"/>
                        <a:pt x="5885" y="1047"/>
                        <a:pt x="6111" y="851"/>
                      </a:cubicBezTo>
                      <a:cubicBezTo>
                        <a:pt x="6182" y="807"/>
                        <a:pt x="6238" y="751"/>
                        <a:pt x="6324" y="724"/>
                      </a:cubicBezTo>
                      <a:cubicBezTo>
                        <a:pt x="6380" y="694"/>
                        <a:pt x="6407" y="679"/>
                        <a:pt x="6478" y="694"/>
                      </a:cubicBezTo>
                      <a:cubicBezTo>
                        <a:pt x="6535" y="709"/>
                        <a:pt x="6719" y="623"/>
                        <a:pt x="6748" y="694"/>
                      </a:cubicBezTo>
                      <a:cubicBezTo>
                        <a:pt x="6775" y="765"/>
                        <a:pt x="6790" y="836"/>
                        <a:pt x="6875" y="836"/>
                      </a:cubicBezTo>
                      <a:cubicBezTo>
                        <a:pt x="6988" y="836"/>
                        <a:pt x="7015" y="878"/>
                        <a:pt x="7143" y="836"/>
                      </a:cubicBezTo>
                      <a:cubicBezTo>
                        <a:pt x="7682" y="652"/>
                        <a:pt x="7442" y="1317"/>
                        <a:pt x="7596" y="1545"/>
                      </a:cubicBezTo>
                      <a:cubicBezTo>
                        <a:pt x="7694" y="1684"/>
                        <a:pt x="7836" y="1670"/>
                        <a:pt x="8008" y="1670"/>
                      </a:cubicBezTo>
                      <a:cubicBezTo>
                        <a:pt x="8177" y="1670"/>
                        <a:pt x="8260" y="1530"/>
                        <a:pt x="8444" y="1486"/>
                      </a:cubicBezTo>
                      <a:cubicBezTo>
                        <a:pt x="8515" y="1474"/>
                        <a:pt x="8515" y="1572"/>
                        <a:pt x="8586" y="1557"/>
                      </a:cubicBezTo>
                      <a:cubicBezTo>
                        <a:pt x="8714" y="1530"/>
                        <a:pt x="8856" y="1430"/>
                        <a:pt x="8927" y="1613"/>
                      </a:cubicBezTo>
                      <a:cubicBezTo>
                        <a:pt x="9011" y="1812"/>
                        <a:pt x="9011" y="2025"/>
                        <a:pt x="9251" y="2052"/>
                      </a:cubicBezTo>
                      <a:cubicBezTo>
                        <a:pt x="9295" y="2067"/>
                        <a:pt x="9322" y="2108"/>
                        <a:pt x="9366" y="2123"/>
                      </a:cubicBezTo>
                      <a:cubicBezTo>
                        <a:pt x="9435" y="2138"/>
                        <a:pt x="9506" y="2096"/>
                        <a:pt x="9577" y="2123"/>
                      </a:cubicBezTo>
                      <a:cubicBezTo>
                        <a:pt x="9633" y="2138"/>
                        <a:pt x="9633" y="2224"/>
                        <a:pt x="9704" y="2224"/>
                      </a:cubicBezTo>
                      <a:cubicBezTo>
                        <a:pt x="10285" y="2393"/>
                        <a:pt x="10285" y="2393"/>
                        <a:pt x="10285" y="2393"/>
                      </a:cubicBezTo>
                      <a:lnTo>
                        <a:pt x="10285" y="2393"/>
                      </a:lnTo>
                      <a:cubicBezTo>
                        <a:pt x="10312" y="3525"/>
                        <a:pt x="10312" y="3525"/>
                        <a:pt x="10312" y="3525"/>
                      </a:cubicBezTo>
                      <a:cubicBezTo>
                        <a:pt x="10327" y="3609"/>
                        <a:pt x="10229" y="3538"/>
                        <a:pt x="10241" y="3594"/>
                      </a:cubicBezTo>
                      <a:cubicBezTo>
                        <a:pt x="10241" y="3638"/>
                        <a:pt x="10300" y="3638"/>
                        <a:pt x="10300" y="3680"/>
                      </a:cubicBezTo>
                      <a:cubicBezTo>
                        <a:pt x="10285" y="3778"/>
                        <a:pt x="10001" y="3638"/>
                        <a:pt x="10045" y="3962"/>
                      </a:cubicBezTo>
                      <a:cubicBezTo>
                        <a:pt x="10072" y="4133"/>
                        <a:pt x="10116" y="4145"/>
                        <a:pt x="10300" y="4118"/>
                      </a:cubicBezTo>
                      <a:cubicBezTo>
                        <a:pt x="10312" y="4118"/>
                        <a:pt x="10496" y="4231"/>
                        <a:pt x="10525" y="4246"/>
                      </a:cubicBezTo>
                      <a:cubicBezTo>
                        <a:pt x="10611" y="4317"/>
                        <a:pt x="10440" y="4344"/>
                        <a:pt x="10398" y="4344"/>
                      </a:cubicBezTo>
                      <a:cubicBezTo>
                        <a:pt x="10285" y="4329"/>
                        <a:pt x="10199" y="4246"/>
                        <a:pt x="10087" y="4344"/>
                      </a:cubicBezTo>
                      <a:cubicBezTo>
                        <a:pt x="10057" y="4373"/>
                        <a:pt x="10045" y="4415"/>
                        <a:pt x="10016" y="4444"/>
                      </a:cubicBezTo>
                      <a:cubicBezTo>
                        <a:pt x="9989" y="4471"/>
                        <a:pt x="9918" y="4513"/>
                        <a:pt x="9903" y="4543"/>
                      </a:cubicBezTo>
                      <a:cubicBezTo>
                        <a:pt x="9861" y="4670"/>
                        <a:pt x="9861" y="4670"/>
                        <a:pt x="9861" y="4670"/>
                      </a:cubicBezTo>
                      <a:lnTo>
                        <a:pt x="9861" y="4670"/>
                      </a:lnTo>
                      <a:cubicBezTo>
                        <a:pt x="9790" y="4741"/>
                        <a:pt x="9535" y="4670"/>
                        <a:pt x="9464" y="4643"/>
                      </a:cubicBezTo>
                      <a:cubicBezTo>
                        <a:pt x="9194" y="4543"/>
                        <a:pt x="9422" y="4839"/>
                        <a:pt x="9422" y="4896"/>
                      </a:cubicBezTo>
                      <a:cubicBezTo>
                        <a:pt x="9422" y="4981"/>
                        <a:pt x="9606" y="4952"/>
                        <a:pt x="9663" y="4940"/>
                      </a:cubicBezTo>
                      <a:cubicBezTo>
                        <a:pt x="9873" y="4896"/>
                        <a:pt x="9562" y="5123"/>
                        <a:pt x="9493" y="5165"/>
                      </a:cubicBezTo>
                      <a:cubicBezTo>
                        <a:pt x="9322" y="5222"/>
                        <a:pt x="9239" y="5420"/>
                        <a:pt x="9040" y="5435"/>
                      </a:cubicBezTo>
                      <a:cubicBezTo>
                        <a:pt x="8631" y="5462"/>
                        <a:pt x="8927" y="5589"/>
                        <a:pt x="8699" y="5717"/>
                      </a:cubicBezTo>
                      <a:cubicBezTo>
                        <a:pt x="8601" y="5758"/>
                        <a:pt x="8459" y="5702"/>
                        <a:pt x="8586" y="5859"/>
                      </a:cubicBezTo>
                      <a:cubicBezTo>
                        <a:pt x="8658" y="5957"/>
                        <a:pt x="8572" y="5930"/>
                        <a:pt x="8560" y="6001"/>
                      </a:cubicBezTo>
                      <a:cubicBezTo>
                        <a:pt x="8530" y="6001"/>
                        <a:pt x="8530" y="6028"/>
                        <a:pt x="8530" y="6028"/>
                      </a:cubicBezTo>
                      <a:cubicBezTo>
                        <a:pt x="8530" y="6185"/>
                        <a:pt x="8233" y="6057"/>
                        <a:pt x="8219" y="6155"/>
                      </a:cubicBezTo>
                      <a:cubicBezTo>
                        <a:pt x="8162" y="6425"/>
                        <a:pt x="8106" y="6268"/>
                        <a:pt x="7937" y="6381"/>
                      </a:cubicBezTo>
                      <a:cubicBezTo>
                        <a:pt x="7822" y="6381"/>
                        <a:pt x="7851" y="6325"/>
                        <a:pt x="7694" y="6396"/>
                      </a:cubicBezTo>
                      <a:cubicBezTo>
                        <a:pt x="7569" y="6467"/>
                        <a:pt x="7498" y="6425"/>
                        <a:pt x="7596" y="6283"/>
                      </a:cubicBezTo>
                      <a:cubicBezTo>
                        <a:pt x="7638" y="6212"/>
                        <a:pt x="7724" y="5957"/>
                        <a:pt x="7626" y="5915"/>
                      </a:cubicBezTo>
                      <a:cubicBezTo>
                        <a:pt x="7498" y="5859"/>
                        <a:pt x="7398" y="5829"/>
                        <a:pt x="7270" y="5874"/>
                      </a:cubicBezTo>
                      <a:cubicBezTo>
                        <a:pt x="7086" y="5945"/>
                        <a:pt x="7059" y="6170"/>
                        <a:pt x="6846" y="6170"/>
                      </a:cubicBezTo>
                      <a:cubicBezTo>
                        <a:pt x="6831" y="6170"/>
                        <a:pt x="6775" y="6197"/>
                        <a:pt x="6804" y="6212"/>
                      </a:cubicBezTo>
                      <a:cubicBezTo>
                        <a:pt x="6706" y="6325"/>
                        <a:pt x="6763" y="6381"/>
                        <a:pt x="6576" y="6410"/>
                      </a:cubicBezTo>
                      <a:cubicBezTo>
                        <a:pt x="6422" y="6437"/>
                        <a:pt x="6407" y="6467"/>
                        <a:pt x="6407" y="6636"/>
                      </a:cubicBezTo>
                      <a:cubicBezTo>
                        <a:pt x="6422" y="6977"/>
                        <a:pt x="6280" y="6876"/>
                        <a:pt x="6054" y="7048"/>
                      </a:cubicBezTo>
                      <a:cubicBezTo>
                        <a:pt x="5912" y="7146"/>
                        <a:pt x="5772" y="7217"/>
                        <a:pt x="5714" y="6991"/>
                      </a:cubicBezTo>
                      <a:cubicBezTo>
                        <a:pt x="5645" y="6651"/>
                        <a:pt x="5701" y="6609"/>
                        <a:pt x="5375" y="6820"/>
                      </a:cubicBezTo>
                      <a:cubicBezTo>
                        <a:pt x="4936" y="6991"/>
                        <a:pt x="5079" y="6369"/>
                        <a:pt x="4696" y="6579"/>
                      </a:cubicBezTo>
                      <a:cubicBezTo>
                        <a:pt x="4314" y="6793"/>
                        <a:pt x="4228" y="6749"/>
                        <a:pt x="4228" y="6354"/>
                      </a:cubicBezTo>
                      <a:cubicBezTo>
                        <a:pt x="4228" y="6185"/>
                        <a:pt x="4186" y="5986"/>
                        <a:pt x="4145" y="5829"/>
                      </a:cubicBezTo>
                      <a:cubicBezTo>
                        <a:pt x="4088" y="5589"/>
                        <a:pt x="3549" y="5986"/>
                        <a:pt x="3422" y="6028"/>
                      </a:cubicBezTo>
                      <a:cubicBezTo>
                        <a:pt x="3267" y="6084"/>
                        <a:pt x="3282" y="5859"/>
                        <a:pt x="3140" y="5829"/>
                      </a:cubicBezTo>
                      <a:cubicBezTo>
                        <a:pt x="3110" y="5972"/>
                        <a:pt x="3110" y="5972"/>
                        <a:pt x="3110" y="5972"/>
                      </a:cubicBezTo>
                      <a:lnTo>
                        <a:pt x="3110" y="5972"/>
                      </a:lnTo>
                      <a:cubicBezTo>
                        <a:pt x="2926" y="6013"/>
                        <a:pt x="2926" y="6013"/>
                        <a:pt x="2926" y="6013"/>
                      </a:cubicBezTo>
                      <a:cubicBezTo>
                        <a:pt x="2799" y="5972"/>
                        <a:pt x="2799" y="5972"/>
                        <a:pt x="2799" y="5972"/>
                      </a:cubicBezTo>
                      <a:cubicBezTo>
                        <a:pt x="2686" y="5972"/>
                        <a:pt x="2645" y="5900"/>
                        <a:pt x="2517" y="5986"/>
                      </a:cubicBezTo>
                      <a:cubicBezTo>
                        <a:pt x="2431" y="6043"/>
                        <a:pt x="2304" y="6128"/>
                        <a:pt x="2220" y="6013"/>
                      </a:cubicBezTo>
                      <a:cubicBezTo>
                        <a:pt x="2108" y="5859"/>
                        <a:pt x="2262" y="5548"/>
                        <a:pt x="1894" y="5619"/>
                      </a:cubicBezTo>
                      <a:cubicBezTo>
                        <a:pt x="1669" y="5675"/>
                        <a:pt x="1696" y="5646"/>
                        <a:pt x="1470" y="5619"/>
                      </a:cubicBezTo>
                      <a:cubicBezTo>
                        <a:pt x="1159" y="5574"/>
                        <a:pt x="1257" y="5491"/>
                        <a:pt x="1032" y="5349"/>
                      </a:cubicBezTo>
                      <a:cubicBezTo>
                        <a:pt x="931" y="5307"/>
                        <a:pt x="862" y="5307"/>
                        <a:pt x="777" y="5222"/>
                      </a:cubicBezTo>
                      <a:cubicBezTo>
                        <a:pt x="664" y="5123"/>
                        <a:pt x="593" y="5165"/>
                        <a:pt x="522" y="5293"/>
                      </a:cubicBezTo>
                      <a:cubicBezTo>
                        <a:pt x="409" y="5476"/>
                        <a:pt x="394" y="5293"/>
                        <a:pt x="281" y="5263"/>
                      </a:cubicBezTo>
                      <a:cubicBezTo>
                        <a:pt x="254" y="5180"/>
                        <a:pt x="281" y="5094"/>
                        <a:pt x="281" y="5011"/>
                      </a:cubicBezTo>
                      <a:cubicBezTo>
                        <a:pt x="296" y="4940"/>
                        <a:pt x="311" y="4839"/>
                        <a:pt x="254" y="4797"/>
                      </a:cubicBezTo>
                      <a:cubicBezTo>
                        <a:pt x="154" y="4712"/>
                        <a:pt x="169" y="4768"/>
                        <a:pt x="169" y="4599"/>
                      </a:cubicBezTo>
                      <a:cubicBezTo>
                        <a:pt x="169" y="4528"/>
                        <a:pt x="125" y="4528"/>
                        <a:pt x="98" y="4457"/>
                      </a:cubicBezTo>
                      <a:cubicBezTo>
                        <a:pt x="83" y="4400"/>
                        <a:pt x="139" y="4317"/>
                        <a:pt x="196" y="4302"/>
                      </a:cubicBezTo>
                      <a:cubicBezTo>
                        <a:pt x="296" y="4302"/>
                        <a:pt x="225" y="4160"/>
                        <a:pt x="254" y="4089"/>
                      </a:cubicBezTo>
                      <a:cubicBezTo>
                        <a:pt x="296" y="4020"/>
                        <a:pt x="311" y="3807"/>
                        <a:pt x="267" y="3736"/>
                      </a:cubicBezTo>
                      <a:cubicBezTo>
                        <a:pt x="267" y="3623"/>
                        <a:pt x="41" y="3582"/>
                        <a:pt x="27" y="3481"/>
                      </a:cubicBezTo>
                      <a:cubicBezTo>
                        <a:pt x="0" y="3383"/>
                        <a:pt x="267" y="3368"/>
                        <a:pt x="323" y="3354"/>
                      </a:cubicBezTo>
                      <a:cubicBezTo>
                        <a:pt x="664" y="3270"/>
                        <a:pt x="451" y="2944"/>
                        <a:pt x="649" y="2802"/>
                      </a:cubicBezTo>
                      <a:cubicBezTo>
                        <a:pt x="777" y="2719"/>
                        <a:pt x="791" y="2491"/>
                        <a:pt x="706" y="2349"/>
                      </a:cubicBezTo>
                      <a:cubicBezTo>
                        <a:pt x="931" y="2251"/>
                        <a:pt x="931" y="2251"/>
                        <a:pt x="931" y="2251"/>
                      </a:cubicBezTo>
                      <a:close/>
                    </a:path>
                  </a:pathLst>
                </a:custGeom>
                <a:solidFill>
                  <a:schemeClr val="accent5"/>
                </a:solidFill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  <p:sp>
              <p:nvSpPr>
                <p:cNvPr id="41" name="Freeform 12"/>
                <p:cNvSpPr>
                  <a:spLocks noChangeArrowheads="1"/>
                </p:cNvSpPr>
                <p:nvPr/>
              </p:nvSpPr>
              <p:spPr bwMode="auto">
                <a:xfrm>
                  <a:off x="10124882" y="3376188"/>
                  <a:ext cx="2281306" cy="2130767"/>
                </a:xfrm>
                <a:custGeom>
                  <a:avLst/>
                  <a:gdLst>
                    <a:gd name="T0" fmla="*/ 1429 w 12792"/>
                    <a:gd name="T1" fmla="*/ 2716 h 10894"/>
                    <a:gd name="T2" fmla="*/ 807 w 12792"/>
                    <a:gd name="T3" fmla="*/ 3439 h 10894"/>
                    <a:gd name="T4" fmla="*/ 311 w 12792"/>
                    <a:gd name="T5" fmla="*/ 3946 h 10894"/>
                    <a:gd name="T6" fmla="*/ 637 w 12792"/>
                    <a:gd name="T7" fmla="*/ 4752 h 10894"/>
                    <a:gd name="T8" fmla="*/ 990 w 12792"/>
                    <a:gd name="T9" fmla="*/ 5179 h 10894"/>
                    <a:gd name="T10" fmla="*/ 424 w 12792"/>
                    <a:gd name="T11" fmla="*/ 5914 h 10894"/>
                    <a:gd name="T12" fmla="*/ 821 w 12792"/>
                    <a:gd name="T13" fmla="*/ 6380 h 10894"/>
                    <a:gd name="T14" fmla="*/ 679 w 12792"/>
                    <a:gd name="T15" fmla="*/ 6733 h 10894"/>
                    <a:gd name="T16" fmla="*/ 439 w 12792"/>
                    <a:gd name="T17" fmla="*/ 7738 h 10894"/>
                    <a:gd name="T18" fmla="*/ 721 w 12792"/>
                    <a:gd name="T19" fmla="*/ 8192 h 10894"/>
                    <a:gd name="T20" fmla="*/ 1076 w 12792"/>
                    <a:gd name="T21" fmla="*/ 8106 h 10894"/>
                    <a:gd name="T22" fmla="*/ 1415 w 12792"/>
                    <a:gd name="T23" fmla="*/ 8106 h 10894"/>
                    <a:gd name="T24" fmla="*/ 2094 w 12792"/>
                    <a:gd name="T25" fmla="*/ 7880 h 10894"/>
                    <a:gd name="T26" fmla="*/ 3184 w 12792"/>
                    <a:gd name="T27" fmla="*/ 8233 h 10894"/>
                    <a:gd name="T28" fmla="*/ 4314 w 12792"/>
                    <a:gd name="T29" fmla="*/ 8574 h 10894"/>
                    <a:gd name="T30" fmla="*/ 5616 w 12792"/>
                    <a:gd name="T31" fmla="*/ 9336 h 10894"/>
                    <a:gd name="T32" fmla="*/ 6381 w 12792"/>
                    <a:gd name="T33" fmla="*/ 10172 h 10894"/>
                    <a:gd name="T34" fmla="*/ 6861 w 12792"/>
                    <a:gd name="T35" fmla="*/ 10893 h 10894"/>
                    <a:gd name="T36" fmla="*/ 6947 w 12792"/>
                    <a:gd name="T37" fmla="*/ 10214 h 10894"/>
                    <a:gd name="T38" fmla="*/ 7428 w 12792"/>
                    <a:gd name="T39" fmla="*/ 9125 h 10894"/>
                    <a:gd name="T40" fmla="*/ 7937 w 12792"/>
                    <a:gd name="T41" fmla="*/ 8049 h 10894"/>
                    <a:gd name="T42" fmla="*/ 8545 w 12792"/>
                    <a:gd name="T43" fmla="*/ 8390 h 10894"/>
                    <a:gd name="T44" fmla="*/ 9141 w 12792"/>
                    <a:gd name="T45" fmla="*/ 8417 h 10894"/>
                    <a:gd name="T46" fmla="*/ 9933 w 12792"/>
                    <a:gd name="T47" fmla="*/ 8574 h 10894"/>
                    <a:gd name="T48" fmla="*/ 10428 w 12792"/>
                    <a:gd name="T49" fmla="*/ 8375 h 10894"/>
                    <a:gd name="T50" fmla="*/ 10867 w 12792"/>
                    <a:gd name="T51" fmla="*/ 7767 h 10894"/>
                    <a:gd name="T52" fmla="*/ 10739 w 12792"/>
                    <a:gd name="T53" fmla="*/ 6861 h 10894"/>
                    <a:gd name="T54" fmla="*/ 11445 w 12792"/>
                    <a:gd name="T55" fmla="*/ 5900 h 10894"/>
                    <a:gd name="T56" fmla="*/ 12154 w 12792"/>
                    <a:gd name="T57" fmla="*/ 5248 h 10894"/>
                    <a:gd name="T58" fmla="*/ 12521 w 12792"/>
                    <a:gd name="T59" fmla="*/ 4669 h 10894"/>
                    <a:gd name="T60" fmla="*/ 12762 w 12792"/>
                    <a:gd name="T61" fmla="*/ 4613 h 10894"/>
                    <a:gd name="T62" fmla="*/ 12649 w 12792"/>
                    <a:gd name="T63" fmla="*/ 4471 h 10894"/>
                    <a:gd name="T64" fmla="*/ 12367 w 12792"/>
                    <a:gd name="T65" fmla="*/ 4272 h 10894"/>
                    <a:gd name="T66" fmla="*/ 11970 w 12792"/>
                    <a:gd name="T67" fmla="*/ 3777 h 10894"/>
                    <a:gd name="T68" fmla="*/ 11560 w 12792"/>
                    <a:gd name="T69" fmla="*/ 3848 h 10894"/>
                    <a:gd name="T70" fmla="*/ 11051 w 12792"/>
                    <a:gd name="T71" fmla="*/ 3904 h 10894"/>
                    <a:gd name="T72" fmla="*/ 10514 w 12792"/>
                    <a:gd name="T73" fmla="*/ 3762 h 10894"/>
                    <a:gd name="T74" fmla="*/ 10202 w 12792"/>
                    <a:gd name="T75" fmla="*/ 3409 h 10894"/>
                    <a:gd name="T76" fmla="*/ 9989 w 12792"/>
                    <a:gd name="T77" fmla="*/ 2914 h 10894"/>
                    <a:gd name="T78" fmla="*/ 9367 w 12792"/>
                    <a:gd name="T79" fmla="*/ 2644 h 10894"/>
                    <a:gd name="T80" fmla="*/ 9153 w 12792"/>
                    <a:gd name="T81" fmla="*/ 2164 h 10894"/>
                    <a:gd name="T82" fmla="*/ 8842 w 12792"/>
                    <a:gd name="T83" fmla="*/ 1740 h 10894"/>
                    <a:gd name="T84" fmla="*/ 8504 w 12792"/>
                    <a:gd name="T85" fmla="*/ 1372 h 10894"/>
                    <a:gd name="T86" fmla="*/ 8009 w 12792"/>
                    <a:gd name="T87" fmla="*/ 1245 h 10894"/>
                    <a:gd name="T88" fmla="*/ 7344 w 12792"/>
                    <a:gd name="T89" fmla="*/ 1598 h 10894"/>
                    <a:gd name="T90" fmla="*/ 6283 w 12792"/>
                    <a:gd name="T91" fmla="*/ 1586 h 10894"/>
                    <a:gd name="T92" fmla="*/ 5915 w 12792"/>
                    <a:gd name="T93" fmla="*/ 1541 h 10894"/>
                    <a:gd name="T94" fmla="*/ 5547 w 12792"/>
                    <a:gd name="T95" fmla="*/ 1005 h 10894"/>
                    <a:gd name="T96" fmla="*/ 4952 w 12792"/>
                    <a:gd name="T97" fmla="*/ 806 h 10894"/>
                    <a:gd name="T98" fmla="*/ 4685 w 12792"/>
                    <a:gd name="T99" fmla="*/ 1343 h 10894"/>
                    <a:gd name="T100" fmla="*/ 4258 w 12792"/>
                    <a:gd name="T101" fmla="*/ 1713 h 10894"/>
                    <a:gd name="T102" fmla="*/ 3452 w 12792"/>
                    <a:gd name="T103" fmla="*/ 0 h 10894"/>
                    <a:gd name="T104" fmla="*/ 2858 w 12792"/>
                    <a:gd name="T105" fmla="*/ 495 h 10894"/>
                    <a:gd name="T106" fmla="*/ 2277 w 12792"/>
                    <a:gd name="T107" fmla="*/ 835 h 10894"/>
                    <a:gd name="T108" fmla="*/ 2194 w 12792"/>
                    <a:gd name="T109" fmla="*/ 1470 h 10894"/>
                    <a:gd name="T110" fmla="*/ 2689 w 12792"/>
                    <a:gd name="T111" fmla="*/ 1995 h 10894"/>
                    <a:gd name="T112" fmla="*/ 2518 w 12792"/>
                    <a:gd name="T113" fmla="*/ 2858 h 108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2792" h="10894">
                      <a:moveTo>
                        <a:pt x="1515" y="2603"/>
                      </a:moveTo>
                      <a:lnTo>
                        <a:pt x="1515" y="2603"/>
                      </a:lnTo>
                      <a:cubicBezTo>
                        <a:pt x="1500" y="2644"/>
                        <a:pt x="1444" y="2659"/>
                        <a:pt x="1429" y="2716"/>
                      </a:cubicBezTo>
                      <a:cubicBezTo>
                        <a:pt x="1388" y="2828"/>
                        <a:pt x="1331" y="2816"/>
                        <a:pt x="1245" y="2887"/>
                      </a:cubicBezTo>
                      <a:cubicBezTo>
                        <a:pt x="1160" y="2985"/>
                        <a:pt x="1005" y="3098"/>
                        <a:pt x="878" y="3127"/>
                      </a:cubicBezTo>
                      <a:cubicBezTo>
                        <a:pt x="721" y="3154"/>
                        <a:pt x="807" y="3323"/>
                        <a:pt x="807" y="3439"/>
                      </a:cubicBezTo>
                      <a:cubicBezTo>
                        <a:pt x="792" y="3566"/>
                        <a:pt x="821" y="3750"/>
                        <a:pt x="664" y="3792"/>
                      </a:cubicBezTo>
                      <a:cubicBezTo>
                        <a:pt x="608" y="3792"/>
                        <a:pt x="552" y="3833"/>
                        <a:pt x="510" y="3863"/>
                      </a:cubicBezTo>
                      <a:cubicBezTo>
                        <a:pt x="454" y="3904"/>
                        <a:pt x="383" y="3919"/>
                        <a:pt x="311" y="3946"/>
                      </a:cubicBezTo>
                      <a:cubicBezTo>
                        <a:pt x="255" y="3990"/>
                        <a:pt x="56" y="3990"/>
                        <a:pt x="30" y="4047"/>
                      </a:cubicBezTo>
                      <a:cubicBezTo>
                        <a:pt x="0" y="4130"/>
                        <a:pt x="270" y="4414"/>
                        <a:pt x="326" y="4456"/>
                      </a:cubicBezTo>
                      <a:cubicBezTo>
                        <a:pt x="424" y="4556"/>
                        <a:pt x="552" y="4640"/>
                        <a:pt x="637" y="4752"/>
                      </a:cubicBezTo>
                      <a:cubicBezTo>
                        <a:pt x="525" y="4909"/>
                        <a:pt x="255" y="4838"/>
                        <a:pt x="409" y="5078"/>
                      </a:cubicBezTo>
                      <a:cubicBezTo>
                        <a:pt x="566" y="5277"/>
                        <a:pt x="510" y="5123"/>
                        <a:pt x="679" y="5150"/>
                      </a:cubicBezTo>
                      <a:cubicBezTo>
                        <a:pt x="777" y="5150"/>
                        <a:pt x="905" y="5150"/>
                        <a:pt x="990" y="5179"/>
                      </a:cubicBezTo>
                      <a:cubicBezTo>
                        <a:pt x="1005" y="5277"/>
                        <a:pt x="905" y="5532"/>
                        <a:pt x="836" y="5588"/>
                      </a:cubicBezTo>
                      <a:cubicBezTo>
                        <a:pt x="735" y="5686"/>
                        <a:pt x="596" y="5645"/>
                        <a:pt x="525" y="5731"/>
                      </a:cubicBezTo>
                      <a:cubicBezTo>
                        <a:pt x="495" y="5772"/>
                        <a:pt x="383" y="5870"/>
                        <a:pt x="424" y="5914"/>
                      </a:cubicBezTo>
                      <a:cubicBezTo>
                        <a:pt x="454" y="5971"/>
                        <a:pt x="525" y="5998"/>
                        <a:pt x="566" y="6054"/>
                      </a:cubicBezTo>
                      <a:cubicBezTo>
                        <a:pt x="608" y="6098"/>
                        <a:pt x="848" y="6054"/>
                        <a:pt x="721" y="6155"/>
                      </a:cubicBezTo>
                      <a:cubicBezTo>
                        <a:pt x="608" y="6253"/>
                        <a:pt x="735" y="6338"/>
                        <a:pt x="821" y="6380"/>
                      </a:cubicBezTo>
                      <a:cubicBezTo>
                        <a:pt x="863" y="6380"/>
                        <a:pt x="1020" y="6409"/>
                        <a:pt x="934" y="6466"/>
                      </a:cubicBezTo>
                      <a:cubicBezTo>
                        <a:pt x="848" y="6537"/>
                        <a:pt x="848" y="6537"/>
                        <a:pt x="807" y="6620"/>
                      </a:cubicBezTo>
                      <a:cubicBezTo>
                        <a:pt x="777" y="6677"/>
                        <a:pt x="721" y="6691"/>
                        <a:pt x="679" y="6733"/>
                      </a:cubicBezTo>
                      <a:cubicBezTo>
                        <a:pt x="566" y="6905"/>
                        <a:pt x="623" y="7172"/>
                        <a:pt x="623" y="7370"/>
                      </a:cubicBezTo>
                      <a:cubicBezTo>
                        <a:pt x="623" y="7427"/>
                        <a:pt x="637" y="7569"/>
                        <a:pt x="566" y="7598"/>
                      </a:cubicBezTo>
                      <a:cubicBezTo>
                        <a:pt x="466" y="7625"/>
                        <a:pt x="397" y="7554"/>
                        <a:pt x="439" y="7738"/>
                      </a:cubicBezTo>
                      <a:cubicBezTo>
                        <a:pt x="454" y="7839"/>
                        <a:pt x="353" y="7895"/>
                        <a:pt x="424" y="8008"/>
                      </a:cubicBezTo>
                      <a:cubicBezTo>
                        <a:pt x="454" y="8064"/>
                        <a:pt x="537" y="8091"/>
                        <a:pt x="566" y="8150"/>
                      </a:cubicBezTo>
                      <a:cubicBezTo>
                        <a:pt x="608" y="8206"/>
                        <a:pt x="664" y="8233"/>
                        <a:pt x="721" y="8192"/>
                      </a:cubicBezTo>
                      <a:cubicBezTo>
                        <a:pt x="777" y="8162"/>
                        <a:pt x="792" y="7978"/>
                        <a:pt x="878" y="8008"/>
                      </a:cubicBezTo>
                      <a:cubicBezTo>
                        <a:pt x="905" y="8022"/>
                        <a:pt x="934" y="8049"/>
                        <a:pt x="949" y="8064"/>
                      </a:cubicBezTo>
                      <a:cubicBezTo>
                        <a:pt x="990" y="8106"/>
                        <a:pt x="1032" y="8091"/>
                        <a:pt x="1076" y="8106"/>
                      </a:cubicBezTo>
                      <a:cubicBezTo>
                        <a:pt x="1189" y="8064"/>
                        <a:pt x="1189" y="8064"/>
                        <a:pt x="1189" y="8064"/>
                      </a:cubicBezTo>
                      <a:lnTo>
                        <a:pt x="1189" y="8064"/>
                      </a:lnTo>
                      <a:cubicBezTo>
                        <a:pt x="1260" y="8008"/>
                        <a:pt x="1358" y="8091"/>
                        <a:pt x="1415" y="8106"/>
                      </a:cubicBezTo>
                      <a:cubicBezTo>
                        <a:pt x="1500" y="8135"/>
                        <a:pt x="1571" y="8064"/>
                        <a:pt x="1598" y="7993"/>
                      </a:cubicBezTo>
                      <a:cubicBezTo>
                        <a:pt x="1699" y="7839"/>
                        <a:pt x="1711" y="8150"/>
                        <a:pt x="1853" y="8049"/>
                      </a:cubicBezTo>
                      <a:cubicBezTo>
                        <a:pt x="1897" y="8022"/>
                        <a:pt x="2022" y="7824"/>
                        <a:pt x="2094" y="7880"/>
                      </a:cubicBezTo>
                      <a:cubicBezTo>
                        <a:pt x="2179" y="7966"/>
                        <a:pt x="2363" y="8106"/>
                        <a:pt x="2491" y="8120"/>
                      </a:cubicBezTo>
                      <a:cubicBezTo>
                        <a:pt x="2660" y="8120"/>
                        <a:pt x="2576" y="8290"/>
                        <a:pt x="2817" y="8290"/>
                      </a:cubicBezTo>
                      <a:cubicBezTo>
                        <a:pt x="3184" y="8233"/>
                        <a:pt x="3184" y="8233"/>
                        <a:pt x="3184" y="8233"/>
                      </a:cubicBezTo>
                      <a:cubicBezTo>
                        <a:pt x="3508" y="8770"/>
                        <a:pt x="3508" y="8770"/>
                        <a:pt x="3508" y="8770"/>
                      </a:cubicBezTo>
                      <a:cubicBezTo>
                        <a:pt x="4032" y="8616"/>
                        <a:pt x="4032" y="8616"/>
                        <a:pt x="4032" y="8616"/>
                      </a:cubicBezTo>
                      <a:cubicBezTo>
                        <a:pt x="4131" y="8586"/>
                        <a:pt x="4216" y="8574"/>
                        <a:pt x="4314" y="8574"/>
                      </a:cubicBezTo>
                      <a:cubicBezTo>
                        <a:pt x="4442" y="8586"/>
                        <a:pt x="4400" y="8645"/>
                        <a:pt x="4457" y="8714"/>
                      </a:cubicBezTo>
                      <a:cubicBezTo>
                        <a:pt x="4584" y="8870"/>
                        <a:pt x="5008" y="8956"/>
                        <a:pt x="5192" y="9054"/>
                      </a:cubicBezTo>
                      <a:cubicBezTo>
                        <a:pt x="5616" y="9336"/>
                        <a:pt x="5616" y="9336"/>
                        <a:pt x="5616" y="9336"/>
                      </a:cubicBezTo>
                      <a:cubicBezTo>
                        <a:pt x="5744" y="9422"/>
                        <a:pt x="5829" y="9280"/>
                        <a:pt x="5942" y="9238"/>
                      </a:cubicBezTo>
                      <a:cubicBezTo>
                        <a:pt x="6043" y="9209"/>
                        <a:pt x="6126" y="9152"/>
                        <a:pt x="6070" y="9309"/>
                      </a:cubicBezTo>
                      <a:cubicBezTo>
                        <a:pt x="5942" y="9621"/>
                        <a:pt x="6226" y="9902"/>
                        <a:pt x="6381" y="10172"/>
                      </a:cubicBezTo>
                      <a:cubicBezTo>
                        <a:pt x="6366" y="10228"/>
                        <a:pt x="6494" y="10356"/>
                        <a:pt x="6538" y="10398"/>
                      </a:cubicBezTo>
                      <a:cubicBezTo>
                        <a:pt x="6609" y="10469"/>
                        <a:pt x="6763" y="10569"/>
                        <a:pt x="6722" y="10682"/>
                      </a:cubicBezTo>
                      <a:cubicBezTo>
                        <a:pt x="6692" y="10751"/>
                        <a:pt x="6734" y="10893"/>
                        <a:pt x="6861" y="10893"/>
                      </a:cubicBezTo>
                      <a:lnTo>
                        <a:pt x="6861" y="10893"/>
                      </a:lnTo>
                      <a:cubicBezTo>
                        <a:pt x="6805" y="10809"/>
                        <a:pt x="6891" y="10596"/>
                        <a:pt x="6918" y="10510"/>
                      </a:cubicBezTo>
                      <a:cubicBezTo>
                        <a:pt x="6932" y="10412"/>
                        <a:pt x="6918" y="10314"/>
                        <a:pt x="6947" y="10214"/>
                      </a:cubicBezTo>
                      <a:cubicBezTo>
                        <a:pt x="6989" y="10201"/>
                        <a:pt x="7089" y="10157"/>
                        <a:pt x="7075" y="10101"/>
                      </a:cubicBezTo>
                      <a:cubicBezTo>
                        <a:pt x="7146" y="9988"/>
                        <a:pt x="7217" y="9733"/>
                        <a:pt x="7258" y="9591"/>
                      </a:cubicBezTo>
                      <a:cubicBezTo>
                        <a:pt x="7300" y="9451"/>
                        <a:pt x="7356" y="9268"/>
                        <a:pt x="7428" y="9125"/>
                      </a:cubicBezTo>
                      <a:cubicBezTo>
                        <a:pt x="7457" y="9069"/>
                        <a:pt x="7499" y="8885"/>
                        <a:pt x="7513" y="8829"/>
                      </a:cubicBezTo>
                      <a:cubicBezTo>
                        <a:pt x="7584" y="8645"/>
                        <a:pt x="7597" y="8473"/>
                        <a:pt x="7697" y="8319"/>
                      </a:cubicBezTo>
                      <a:cubicBezTo>
                        <a:pt x="7810" y="8150"/>
                        <a:pt x="7626" y="7966"/>
                        <a:pt x="7937" y="8049"/>
                      </a:cubicBezTo>
                      <a:cubicBezTo>
                        <a:pt x="8151" y="8106"/>
                        <a:pt x="8151" y="8106"/>
                        <a:pt x="8151" y="8106"/>
                      </a:cubicBezTo>
                      <a:cubicBezTo>
                        <a:pt x="8207" y="8120"/>
                        <a:pt x="8163" y="8206"/>
                        <a:pt x="8249" y="8206"/>
                      </a:cubicBezTo>
                      <a:cubicBezTo>
                        <a:pt x="8335" y="8206"/>
                        <a:pt x="8462" y="8361"/>
                        <a:pt x="8545" y="8390"/>
                      </a:cubicBezTo>
                      <a:cubicBezTo>
                        <a:pt x="8702" y="8432"/>
                        <a:pt x="8857" y="8417"/>
                        <a:pt x="8984" y="8488"/>
                      </a:cubicBezTo>
                      <a:cubicBezTo>
                        <a:pt x="8984" y="8488"/>
                        <a:pt x="8984" y="8488"/>
                        <a:pt x="8999" y="8473"/>
                      </a:cubicBezTo>
                      <a:cubicBezTo>
                        <a:pt x="9055" y="8461"/>
                        <a:pt x="9085" y="8432"/>
                        <a:pt x="9141" y="8417"/>
                      </a:cubicBezTo>
                      <a:cubicBezTo>
                        <a:pt x="9153" y="8405"/>
                        <a:pt x="9352" y="8390"/>
                        <a:pt x="9367" y="8405"/>
                      </a:cubicBezTo>
                      <a:cubicBezTo>
                        <a:pt x="9408" y="8405"/>
                        <a:pt x="9465" y="8461"/>
                        <a:pt x="9509" y="8461"/>
                      </a:cubicBezTo>
                      <a:cubicBezTo>
                        <a:pt x="9720" y="8405"/>
                        <a:pt x="9776" y="8417"/>
                        <a:pt x="9933" y="8574"/>
                      </a:cubicBezTo>
                      <a:cubicBezTo>
                        <a:pt x="9903" y="8630"/>
                        <a:pt x="10046" y="8672"/>
                        <a:pt x="10087" y="8544"/>
                      </a:cubicBezTo>
                      <a:cubicBezTo>
                        <a:pt x="10202" y="8544"/>
                        <a:pt x="10215" y="8405"/>
                        <a:pt x="10300" y="8361"/>
                      </a:cubicBezTo>
                      <a:cubicBezTo>
                        <a:pt x="10428" y="8375"/>
                        <a:pt x="10428" y="8375"/>
                        <a:pt x="10428" y="8375"/>
                      </a:cubicBezTo>
                      <a:cubicBezTo>
                        <a:pt x="10526" y="8375"/>
                        <a:pt x="10570" y="8346"/>
                        <a:pt x="10612" y="8263"/>
                      </a:cubicBezTo>
                      <a:cubicBezTo>
                        <a:pt x="10668" y="8120"/>
                        <a:pt x="10852" y="8150"/>
                        <a:pt x="10867" y="7951"/>
                      </a:cubicBezTo>
                      <a:cubicBezTo>
                        <a:pt x="10881" y="7880"/>
                        <a:pt x="10908" y="7839"/>
                        <a:pt x="10867" y="7767"/>
                      </a:cubicBezTo>
                      <a:cubicBezTo>
                        <a:pt x="10823" y="7696"/>
                        <a:pt x="10781" y="7667"/>
                        <a:pt x="10754" y="7598"/>
                      </a:cubicBezTo>
                      <a:cubicBezTo>
                        <a:pt x="10810" y="7412"/>
                        <a:pt x="10810" y="7412"/>
                        <a:pt x="10810" y="7412"/>
                      </a:cubicBezTo>
                      <a:cubicBezTo>
                        <a:pt x="10739" y="6861"/>
                        <a:pt x="10739" y="6861"/>
                        <a:pt x="10739" y="6861"/>
                      </a:cubicBezTo>
                      <a:cubicBezTo>
                        <a:pt x="10698" y="6691"/>
                        <a:pt x="10639" y="6481"/>
                        <a:pt x="10766" y="6324"/>
                      </a:cubicBezTo>
                      <a:cubicBezTo>
                        <a:pt x="10867" y="6196"/>
                        <a:pt x="10881" y="6012"/>
                        <a:pt x="11036" y="5927"/>
                      </a:cubicBezTo>
                      <a:cubicBezTo>
                        <a:pt x="11163" y="5885"/>
                        <a:pt x="11306" y="5900"/>
                        <a:pt x="11445" y="5900"/>
                      </a:cubicBezTo>
                      <a:cubicBezTo>
                        <a:pt x="11546" y="5900"/>
                        <a:pt x="11632" y="5772"/>
                        <a:pt x="11700" y="5814"/>
                      </a:cubicBezTo>
                      <a:cubicBezTo>
                        <a:pt x="11771" y="5858"/>
                        <a:pt x="12112" y="5476"/>
                        <a:pt x="12154" y="5405"/>
                      </a:cubicBezTo>
                      <a:cubicBezTo>
                        <a:pt x="12183" y="5363"/>
                        <a:pt x="12112" y="5292"/>
                        <a:pt x="12154" y="5248"/>
                      </a:cubicBezTo>
                      <a:cubicBezTo>
                        <a:pt x="12254" y="5123"/>
                        <a:pt x="11970" y="4995"/>
                        <a:pt x="12154" y="4853"/>
                      </a:cubicBezTo>
                      <a:cubicBezTo>
                        <a:pt x="12210" y="4809"/>
                        <a:pt x="12210" y="4669"/>
                        <a:pt x="12266" y="4669"/>
                      </a:cubicBezTo>
                      <a:cubicBezTo>
                        <a:pt x="12521" y="4669"/>
                        <a:pt x="12521" y="4669"/>
                        <a:pt x="12521" y="4669"/>
                      </a:cubicBezTo>
                      <a:cubicBezTo>
                        <a:pt x="12551" y="4556"/>
                        <a:pt x="12705" y="4711"/>
                        <a:pt x="12747" y="4696"/>
                      </a:cubicBezTo>
                      <a:lnTo>
                        <a:pt x="12747" y="4696"/>
                      </a:lnTo>
                      <a:cubicBezTo>
                        <a:pt x="12762" y="4684"/>
                        <a:pt x="12776" y="4613"/>
                        <a:pt x="12762" y="4613"/>
                      </a:cubicBezTo>
                      <a:cubicBezTo>
                        <a:pt x="12762" y="4613"/>
                        <a:pt x="12747" y="4598"/>
                        <a:pt x="12762" y="4598"/>
                      </a:cubicBezTo>
                      <a:cubicBezTo>
                        <a:pt x="12762" y="4569"/>
                        <a:pt x="12791" y="4527"/>
                        <a:pt x="12791" y="4485"/>
                      </a:cubicBezTo>
                      <a:cubicBezTo>
                        <a:pt x="12747" y="4471"/>
                        <a:pt x="12705" y="4471"/>
                        <a:pt x="12649" y="4471"/>
                      </a:cubicBezTo>
                      <a:cubicBezTo>
                        <a:pt x="12607" y="4456"/>
                        <a:pt x="12578" y="4429"/>
                        <a:pt x="12521" y="4429"/>
                      </a:cubicBezTo>
                      <a:cubicBezTo>
                        <a:pt x="12494" y="4429"/>
                        <a:pt x="12465" y="4441"/>
                        <a:pt x="12438" y="4414"/>
                      </a:cubicBezTo>
                      <a:cubicBezTo>
                        <a:pt x="12394" y="4385"/>
                        <a:pt x="12367" y="4328"/>
                        <a:pt x="12367" y="4272"/>
                      </a:cubicBezTo>
                      <a:cubicBezTo>
                        <a:pt x="12352" y="4230"/>
                        <a:pt x="12352" y="4145"/>
                        <a:pt x="12296" y="4130"/>
                      </a:cubicBezTo>
                      <a:cubicBezTo>
                        <a:pt x="12183" y="4088"/>
                        <a:pt x="12266" y="4061"/>
                        <a:pt x="12239" y="3990"/>
                      </a:cubicBezTo>
                      <a:cubicBezTo>
                        <a:pt x="12183" y="3863"/>
                        <a:pt x="11857" y="3946"/>
                        <a:pt x="11970" y="3777"/>
                      </a:cubicBezTo>
                      <a:cubicBezTo>
                        <a:pt x="12011" y="3735"/>
                        <a:pt x="12154" y="3637"/>
                        <a:pt x="12154" y="3608"/>
                      </a:cubicBezTo>
                      <a:cubicBezTo>
                        <a:pt x="12154" y="3466"/>
                        <a:pt x="12112" y="3409"/>
                        <a:pt x="11955" y="3451"/>
                      </a:cubicBezTo>
                      <a:cubicBezTo>
                        <a:pt x="11955" y="3608"/>
                        <a:pt x="11744" y="3833"/>
                        <a:pt x="11560" y="3848"/>
                      </a:cubicBezTo>
                      <a:cubicBezTo>
                        <a:pt x="11516" y="3863"/>
                        <a:pt x="11546" y="4017"/>
                        <a:pt x="11460" y="4047"/>
                      </a:cubicBezTo>
                      <a:cubicBezTo>
                        <a:pt x="11433" y="4061"/>
                        <a:pt x="11320" y="3877"/>
                        <a:pt x="11261" y="3975"/>
                      </a:cubicBezTo>
                      <a:cubicBezTo>
                        <a:pt x="11178" y="4088"/>
                        <a:pt x="11205" y="3848"/>
                        <a:pt x="11051" y="3904"/>
                      </a:cubicBezTo>
                      <a:cubicBezTo>
                        <a:pt x="10979" y="3934"/>
                        <a:pt x="10994" y="3848"/>
                        <a:pt x="10923" y="3863"/>
                      </a:cubicBezTo>
                      <a:cubicBezTo>
                        <a:pt x="10781" y="3904"/>
                        <a:pt x="10852" y="3833"/>
                        <a:pt x="10766" y="3792"/>
                      </a:cubicBezTo>
                      <a:cubicBezTo>
                        <a:pt x="10725" y="3777"/>
                        <a:pt x="10541" y="3877"/>
                        <a:pt x="10514" y="3762"/>
                      </a:cubicBezTo>
                      <a:cubicBezTo>
                        <a:pt x="10455" y="3762"/>
                        <a:pt x="10413" y="3848"/>
                        <a:pt x="10372" y="3833"/>
                      </a:cubicBezTo>
                      <a:cubicBezTo>
                        <a:pt x="10357" y="3821"/>
                        <a:pt x="10315" y="3706"/>
                        <a:pt x="10315" y="3694"/>
                      </a:cubicBezTo>
                      <a:cubicBezTo>
                        <a:pt x="10315" y="3537"/>
                        <a:pt x="10202" y="3522"/>
                        <a:pt x="10202" y="3409"/>
                      </a:cubicBezTo>
                      <a:cubicBezTo>
                        <a:pt x="10202" y="3267"/>
                        <a:pt x="10060" y="3338"/>
                        <a:pt x="10046" y="3169"/>
                      </a:cubicBezTo>
                      <a:cubicBezTo>
                        <a:pt x="10031" y="3083"/>
                        <a:pt x="10117" y="3098"/>
                        <a:pt x="10117" y="3027"/>
                      </a:cubicBezTo>
                      <a:cubicBezTo>
                        <a:pt x="10087" y="3015"/>
                        <a:pt x="10031" y="2929"/>
                        <a:pt x="9989" y="2914"/>
                      </a:cubicBezTo>
                      <a:cubicBezTo>
                        <a:pt x="9933" y="2872"/>
                        <a:pt x="9918" y="2914"/>
                        <a:pt x="9847" y="2843"/>
                      </a:cubicBezTo>
                      <a:cubicBezTo>
                        <a:pt x="9820" y="2801"/>
                        <a:pt x="9621" y="2703"/>
                        <a:pt x="9565" y="2703"/>
                      </a:cubicBezTo>
                      <a:cubicBezTo>
                        <a:pt x="9479" y="2716"/>
                        <a:pt x="9423" y="2588"/>
                        <a:pt x="9367" y="2644"/>
                      </a:cubicBezTo>
                      <a:cubicBezTo>
                        <a:pt x="9310" y="2730"/>
                        <a:pt x="9197" y="2617"/>
                        <a:pt x="9183" y="2546"/>
                      </a:cubicBezTo>
                      <a:cubicBezTo>
                        <a:pt x="9168" y="2490"/>
                        <a:pt x="9183" y="2404"/>
                        <a:pt x="9168" y="2336"/>
                      </a:cubicBezTo>
                      <a:cubicBezTo>
                        <a:pt x="9141" y="2306"/>
                        <a:pt x="9112" y="2179"/>
                        <a:pt x="9153" y="2164"/>
                      </a:cubicBezTo>
                      <a:cubicBezTo>
                        <a:pt x="9153" y="2093"/>
                        <a:pt x="9028" y="2037"/>
                        <a:pt x="8999" y="1965"/>
                      </a:cubicBezTo>
                      <a:cubicBezTo>
                        <a:pt x="8999" y="1924"/>
                        <a:pt x="8999" y="1882"/>
                        <a:pt x="8969" y="1853"/>
                      </a:cubicBezTo>
                      <a:cubicBezTo>
                        <a:pt x="8942" y="1811"/>
                        <a:pt x="8886" y="1782"/>
                        <a:pt x="8842" y="1740"/>
                      </a:cubicBezTo>
                      <a:cubicBezTo>
                        <a:pt x="8786" y="1698"/>
                        <a:pt x="8871" y="1612"/>
                        <a:pt x="8830" y="1598"/>
                      </a:cubicBezTo>
                      <a:cubicBezTo>
                        <a:pt x="8773" y="1571"/>
                        <a:pt x="8673" y="1429"/>
                        <a:pt x="8646" y="1429"/>
                      </a:cubicBezTo>
                      <a:cubicBezTo>
                        <a:pt x="8589" y="1429"/>
                        <a:pt x="8518" y="1429"/>
                        <a:pt x="8504" y="1372"/>
                      </a:cubicBezTo>
                      <a:cubicBezTo>
                        <a:pt x="8462" y="1301"/>
                        <a:pt x="8391" y="1331"/>
                        <a:pt x="8335" y="1301"/>
                      </a:cubicBezTo>
                      <a:cubicBezTo>
                        <a:pt x="8163" y="1230"/>
                        <a:pt x="8163" y="1230"/>
                        <a:pt x="8163" y="1230"/>
                      </a:cubicBezTo>
                      <a:cubicBezTo>
                        <a:pt x="8080" y="1203"/>
                        <a:pt x="8080" y="1245"/>
                        <a:pt x="8009" y="1245"/>
                      </a:cubicBezTo>
                      <a:cubicBezTo>
                        <a:pt x="7910" y="1260"/>
                        <a:pt x="7810" y="1260"/>
                        <a:pt x="7754" y="1387"/>
                      </a:cubicBezTo>
                      <a:cubicBezTo>
                        <a:pt x="7739" y="1443"/>
                        <a:pt x="7570" y="1414"/>
                        <a:pt x="7513" y="1402"/>
                      </a:cubicBezTo>
                      <a:cubicBezTo>
                        <a:pt x="7300" y="1358"/>
                        <a:pt x="7472" y="1485"/>
                        <a:pt x="7344" y="1598"/>
                      </a:cubicBezTo>
                      <a:cubicBezTo>
                        <a:pt x="7146" y="1782"/>
                        <a:pt x="7018" y="1612"/>
                        <a:pt x="6876" y="1684"/>
                      </a:cubicBezTo>
                      <a:cubicBezTo>
                        <a:pt x="6707" y="1782"/>
                        <a:pt x="6734" y="1657"/>
                        <a:pt x="6594" y="1657"/>
                      </a:cubicBezTo>
                      <a:cubicBezTo>
                        <a:pt x="6494" y="1657"/>
                        <a:pt x="6324" y="1698"/>
                        <a:pt x="6283" y="1586"/>
                      </a:cubicBezTo>
                      <a:cubicBezTo>
                        <a:pt x="6253" y="1586"/>
                        <a:pt x="6226" y="1684"/>
                        <a:pt x="6182" y="1698"/>
                      </a:cubicBezTo>
                      <a:cubicBezTo>
                        <a:pt x="6084" y="1698"/>
                        <a:pt x="5998" y="1713"/>
                        <a:pt x="5915" y="1684"/>
                      </a:cubicBezTo>
                      <a:cubicBezTo>
                        <a:pt x="5844" y="1669"/>
                        <a:pt x="5927" y="1571"/>
                        <a:pt x="5915" y="1541"/>
                      </a:cubicBezTo>
                      <a:cubicBezTo>
                        <a:pt x="5900" y="1500"/>
                        <a:pt x="5844" y="1485"/>
                        <a:pt x="5859" y="1470"/>
                      </a:cubicBezTo>
                      <a:cubicBezTo>
                        <a:pt x="5957" y="1188"/>
                        <a:pt x="5631" y="1331"/>
                        <a:pt x="5476" y="1331"/>
                      </a:cubicBezTo>
                      <a:cubicBezTo>
                        <a:pt x="5405" y="1331"/>
                        <a:pt x="5533" y="1046"/>
                        <a:pt x="5547" y="1005"/>
                      </a:cubicBezTo>
                      <a:cubicBezTo>
                        <a:pt x="5631" y="735"/>
                        <a:pt x="5391" y="990"/>
                        <a:pt x="5307" y="821"/>
                      </a:cubicBezTo>
                      <a:cubicBezTo>
                        <a:pt x="5248" y="723"/>
                        <a:pt x="5192" y="708"/>
                        <a:pt x="5079" y="679"/>
                      </a:cubicBezTo>
                      <a:cubicBezTo>
                        <a:pt x="4966" y="652"/>
                        <a:pt x="4952" y="708"/>
                        <a:pt x="4952" y="806"/>
                      </a:cubicBezTo>
                      <a:cubicBezTo>
                        <a:pt x="4952" y="934"/>
                        <a:pt x="4685" y="764"/>
                        <a:pt x="4712" y="919"/>
                      </a:cubicBezTo>
                      <a:cubicBezTo>
                        <a:pt x="4712" y="975"/>
                        <a:pt x="4685" y="1034"/>
                        <a:pt x="4741" y="1061"/>
                      </a:cubicBezTo>
                      <a:cubicBezTo>
                        <a:pt x="4712" y="1117"/>
                        <a:pt x="4824" y="1343"/>
                        <a:pt x="4685" y="1343"/>
                      </a:cubicBezTo>
                      <a:cubicBezTo>
                        <a:pt x="4569" y="1343"/>
                        <a:pt x="4415" y="1443"/>
                        <a:pt x="4400" y="1556"/>
                      </a:cubicBezTo>
                      <a:cubicBezTo>
                        <a:pt x="4273" y="1556"/>
                        <a:pt x="4273" y="1556"/>
                        <a:pt x="4273" y="1556"/>
                      </a:cubicBezTo>
                      <a:cubicBezTo>
                        <a:pt x="4258" y="1713"/>
                        <a:pt x="4258" y="1713"/>
                        <a:pt x="4258" y="1713"/>
                      </a:cubicBezTo>
                      <a:cubicBezTo>
                        <a:pt x="3721" y="581"/>
                        <a:pt x="3721" y="581"/>
                        <a:pt x="3721" y="581"/>
                      </a:cubicBezTo>
                      <a:cubicBezTo>
                        <a:pt x="3452" y="0"/>
                        <a:pt x="3452" y="0"/>
                        <a:pt x="3452" y="0"/>
                      </a:cubicBezTo>
                      <a:lnTo>
                        <a:pt x="3452" y="0"/>
                      </a:lnTo>
                      <a:cubicBezTo>
                        <a:pt x="3425" y="14"/>
                        <a:pt x="3282" y="127"/>
                        <a:pt x="3297" y="169"/>
                      </a:cubicBezTo>
                      <a:cubicBezTo>
                        <a:pt x="3255" y="269"/>
                        <a:pt x="3140" y="255"/>
                        <a:pt x="3099" y="367"/>
                      </a:cubicBezTo>
                      <a:cubicBezTo>
                        <a:pt x="3042" y="495"/>
                        <a:pt x="2929" y="411"/>
                        <a:pt x="2858" y="495"/>
                      </a:cubicBezTo>
                      <a:cubicBezTo>
                        <a:pt x="2817" y="566"/>
                        <a:pt x="2817" y="652"/>
                        <a:pt x="2746" y="679"/>
                      </a:cubicBezTo>
                      <a:cubicBezTo>
                        <a:pt x="2645" y="723"/>
                        <a:pt x="2547" y="723"/>
                        <a:pt x="2476" y="821"/>
                      </a:cubicBezTo>
                      <a:cubicBezTo>
                        <a:pt x="2378" y="862"/>
                        <a:pt x="2334" y="791"/>
                        <a:pt x="2277" y="835"/>
                      </a:cubicBezTo>
                      <a:cubicBezTo>
                        <a:pt x="2206" y="862"/>
                        <a:pt x="2194" y="975"/>
                        <a:pt x="2123" y="975"/>
                      </a:cubicBezTo>
                      <a:cubicBezTo>
                        <a:pt x="2067" y="990"/>
                        <a:pt x="2067" y="963"/>
                        <a:pt x="2022" y="1019"/>
                      </a:cubicBezTo>
                      <a:cubicBezTo>
                        <a:pt x="1939" y="1117"/>
                        <a:pt x="2108" y="1414"/>
                        <a:pt x="2194" y="1470"/>
                      </a:cubicBezTo>
                      <a:cubicBezTo>
                        <a:pt x="2321" y="1556"/>
                        <a:pt x="2378" y="1527"/>
                        <a:pt x="2461" y="1669"/>
                      </a:cubicBezTo>
                      <a:cubicBezTo>
                        <a:pt x="2505" y="1740"/>
                        <a:pt x="2576" y="1713"/>
                        <a:pt x="2618" y="1755"/>
                      </a:cubicBezTo>
                      <a:cubicBezTo>
                        <a:pt x="2674" y="1826"/>
                        <a:pt x="2674" y="1909"/>
                        <a:pt x="2689" y="1995"/>
                      </a:cubicBezTo>
                      <a:cubicBezTo>
                        <a:pt x="2689" y="2081"/>
                        <a:pt x="2674" y="2149"/>
                        <a:pt x="2689" y="2235"/>
                      </a:cubicBezTo>
                      <a:cubicBezTo>
                        <a:pt x="2746" y="2250"/>
                        <a:pt x="2817" y="2490"/>
                        <a:pt x="2802" y="2546"/>
                      </a:cubicBezTo>
                      <a:cubicBezTo>
                        <a:pt x="2787" y="2689"/>
                        <a:pt x="2645" y="2801"/>
                        <a:pt x="2518" y="2858"/>
                      </a:cubicBezTo>
                      <a:cubicBezTo>
                        <a:pt x="2390" y="2929"/>
                        <a:pt x="1711" y="2772"/>
                        <a:pt x="1642" y="2659"/>
                      </a:cubicBezTo>
                      <a:cubicBezTo>
                        <a:pt x="1628" y="2603"/>
                        <a:pt x="1571" y="2532"/>
                        <a:pt x="1515" y="2603"/>
                      </a:cubicBezTo>
                    </a:path>
                  </a:pathLst>
                </a:custGeom>
                <a:solidFill>
                  <a:schemeClr val="accent5"/>
                </a:solidFill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  <p:sp>
              <p:nvSpPr>
                <p:cNvPr id="42" name="Freeform 13"/>
                <p:cNvSpPr>
                  <a:spLocks noChangeArrowheads="1"/>
                </p:cNvSpPr>
                <p:nvPr/>
              </p:nvSpPr>
              <p:spPr bwMode="auto">
                <a:xfrm>
                  <a:off x="7245921" y="3426222"/>
                  <a:ext cx="3149477" cy="1928904"/>
                </a:xfrm>
                <a:custGeom>
                  <a:avLst/>
                  <a:gdLst>
                    <a:gd name="T0" fmla="*/ 13215 w 17660"/>
                    <a:gd name="T1" fmla="*/ 296 h 9862"/>
                    <a:gd name="T2" fmla="*/ 13271 w 17660"/>
                    <a:gd name="T3" fmla="*/ 892 h 9862"/>
                    <a:gd name="T4" fmla="*/ 13612 w 17660"/>
                    <a:gd name="T5" fmla="*/ 1316 h 9862"/>
                    <a:gd name="T6" fmla="*/ 13923 w 17660"/>
                    <a:gd name="T7" fmla="*/ 1571 h 9862"/>
                    <a:gd name="T8" fmla="*/ 14445 w 17660"/>
                    <a:gd name="T9" fmla="*/ 1853 h 9862"/>
                    <a:gd name="T10" fmla="*/ 14276 w 17660"/>
                    <a:gd name="T11" fmla="*/ 2389 h 9862"/>
                    <a:gd name="T12" fmla="*/ 14970 w 17660"/>
                    <a:gd name="T13" fmla="*/ 2235 h 9862"/>
                    <a:gd name="T14" fmla="*/ 15536 w 17660"/>
                    <a:gd name="T15" fmla="*/ 2149 h 9862"/>
                    <a:gd name="T16" fmla="*/ 16568 w 17660"/>
                    <a:gd name="T17" fmla="*/ 1669 h 9862"/>
                    <a:gd name="T18" fmla="*/ 17588 w 17660"/>
                    <a:gd name="T19" fmla="*/ 1938 h 9862"/>
                    <a:gd name="T20" fmla="*/ 17659 w 17660"/>
                    <a:gd name="T21" fmla="*/ 2348 h 9862"/>
                    <a:gd name="T22" fmla="*/ 17022 w 17660"/>
                    <a:gd name="T23" fmla="*/ 2872 h 9862"/>
                    <a:gd name="T24" fmla="*/ 16654 w 17660"/>
                    <a:gd name="T25" fmla="*/ 3608 h 9862"/>
                    <a:gd name="T26" fmla="*/ 16470 w 17660"/>
                    <a:gd name="T27" fmla="*/ 4201 h 9862"/>
                    <a:gd name="T28" fmla="*/ 16823 w 17660"/>
                    <a:gd name="T29" fmla="*/ 4895 h 9862"/>
                    <a:gd name="T30" fmla="*/ 16669 w 17660"/>
                    <a:gd name="T31" fmla="*/ 5476 h 9862"/>
                    <a:gd name="T32" fmla="*/ 16865 w 17660"/>
                    <a:gd name="T33" fmla="*/ 5900 h 9862"/>
                    <a:gd name="T34" fmla="*/ 16951 w 17660"/>
                    <a:gd name="T35" fmla="*/ 6365 h 9862"/>
                    <a:gd name="T36" fmla="*/ 16710 w 17660"/>
                    <a:gd name="T37" fmla="*/ 7343 h 9862"/>
                    <a:gd name="T38" fmla="*/ 16710 w 17660"/>
                    <a:gd name="T39" fmla="*/ 7895 h 9862"/>
                    <a:gd name="T40" fmla="*/ 17093 w 17660"/>
                    <a:gd name="T41" fmla="*/ 7809 h 9862"/>
                    <a:gd name="T42" fmla="*/ 17333 w 17660"/>
                    <a:gd name="T43" fmla="*/ 7809 h 9862"/>
                    <a:gd name="T44" fmla="*/ 16796 w 17660"/>
                    <a:gd name="T45" fmla="*/ 8927 h 9862"/>
                    <a:gd name="T46" fmla="*/ 14941 w 17660"/>
                    <a:gd name="T47" fmla="*/ 8672 h 9862"/>
                    <a:gd name="T48" fmla="*/ 13514 w 17660"/>
                    <a:gd name="T49" fmla="*/ 9520 h 9862"/>
                    <a:gd name="T50" fmla="*/ 7386 w 17660"/>
                    <a:gd name="T51" fmla="*/ 9861 h 9862"/>
                    <a:gd name="T52" fmla="*/ 5179 w 17660"/>
                    <a:gd name="T53" fmla="*/ 9831 h 9862"/>
                    <a:gd name="T54" fmla="*/ 5150 w 17660"/>
                    <a:gd name="T55" fmla="*/ 9647 h 9862"/>
                    <a:gd name="T56" fmla="*/ 2959 w 17660"/>
                    <a:gd name="T57" fmla="*/ 9152 h 9862"/>
                    <a:gd name="T58" fmla="*/ 1782 w 17660"/>
                    <a:gd name="T59" fmla="*/ 8530 h 9862"/>
                    <a:gd name="T60" fmla="*/ 806 w 17660"/>
                    <a:gd name="T61" fmla="*/ 8206 h 9862"/>
                    <a:gd name="T62" fmla="*/ 171 w 17660"/>
                    <a:gd name="T63" fmla="*/ 7824 h 9862"/>
                    <a:gd name="T64" fmla="*/ 1726 w 17660"/>
                    <a:gd name="T65" fmla="*/ 6650 h 9862"/>
                    <a:gd name="T66" fmla="*/ 1515 w 17660"/>
                    <a:gd name="T67" fmla="*/ 6282 h 9862"/>
                    <a:gd name="T68" fmla="*/ 1657 w 17660"/>
                    <a:gd name="T69" fmla="*/ 5870 h 9862"/>
                    <a:gd name="T70" fmla="*/ 2037 w 17660"/>
                    <a:gd name="T71" fmla="*/ 5135 h 9862"/>
                    <a:gd name="T72" fmla="*/ 2321 w 17660"/>
                    <a:gd name="T73" fmla="*/ 4625 h 9862"/>
                    <a:gd name="T74" fmla="*/ 3665 w 17660"/>
                    <a:gd name="T75" fmla="*/ 4485 h 9862"/>
                    <a:gd name="T76" fmla="*/ 4260 w 17660"/>
                    <a:gd name="T77" fmla="*/ 4046 h 9862"/>
                    <a:gd name="T78" fmla="*/ 4797 w 17660"/>
                    <a:gd name="T79" fmla="*/ 3169 h 9862"/>
                    <a:gd name="T80" fmla="*/ 5787 w 17660"/>
                    <a:gd name="T81" fmla="*/ 2010 h 9862"/>
                    <a:gd name="T82" fmla="*/ 6069 w 17660"/>
                    <a:gd name="T83" fmla="*/ 1429 h 9862"/>
                    <a:gd name="T84" fmla="*/ 7104 w 17660"/>
                    <a:gd name="T85" fmla="*/ 1286 h 9862"/>
                    <a:gd name="T86" fmla="*/ 8334 w 17660"/>
                    <a:gd name="T87" fmla="*/ 2277 h 9862"/>
                    <a:gd name="T88" fmla="*/ 9366 w 17660"/>
                    <a:gd name="T89" fmla="*/ 2093 h 9862"/>
                    <a:gd name="T90" fmla="*/ 9805 w 17660"/>
                    <a:gd name="T91" fmla="*/ 1627 h 9862"/>
                    <a:gd name="T92" fmla="*/ 10555 w 17660"/>
                    <a:gd name="T93" fmla="*/ 1740 h 9862"/>
                    <a:gd name="T94" fmla="*/ 11178 w 17660"/>
                    <a:gd name="T95" fmla="*/ 1612 h 9862"/>
                    <a:gd name="T96" fmla="*/ 11545 w 17660"/>
                    <a:gd name="T97" fmla="*/ 1316 h 9862"/>
                    <a:gd name="T98" fmla="*/ 12452 w 17660"/>
                    <a:gd name="T99" fmla="*/ 622 h 9862"/>
                    <a:gd name="T100" fmla="*/ 12423 w 17660"/>
                    <a:gd name="T101" fmla="*/ 100 h 98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7660" h="9862">
                      <a:moveTo>
                        <a:pt x="12820" y="127"/>
                      </a:moveTo>
                      <a:lnTo>
                        <a:pt x="12820" y="127"/>
                      </a:lnTo>
                      <a:cubicBezTo>
                        <a:pt x="13215" y="296"/>
                        <a:pt x="13215" y="296"/>
                        <a:pt x="13215" y="296"/>
                      </a:cubicBezTo>
                      <a:cubicBezTo>
                        <a:pt x="13259" y="382"/>
                        <a:pt x="13200" y="453"/>
                        <a:pt x="13244" y="524"/>
                      </a:cubicBezTo>
                      <a:cubicBezTo>
                        <a:pt x="13301" y="593"/>
                        <a:pt x="13244" y="637"/>
                        <a:pt x="13244" y="720"/>
                      </a:cubicBezTo>
                      <a:cubicBezTo>
                        <a:pt x="13244" y="779"/>
                        <a:pt x="13271" y="821"/>
                        <a:pt x="13271" y="892"/>
                      </a:cubicBezTo>
                      <a:cubicBezTo>
                        <a:pt x="13271" y="963"/>
                        <a:pt x="13131" y="975"/>
                        <a:pt x="13131" y="1117"/>
                      </a:cubicBezTo>
                      <a:cubicBezTo>
                        <a:pt x="13131" y="1343"/>
                        <a:pt x="13075" y="1402"/>
                        <a:pt x="13357" y="1357"/>
                      </a:cubicBezTo>
                      <a:cubicBezTo>
                        <a:pt x="13443" y="1343"/>
                        <a:pt x="13514" y="1343"/>
                        <a:pt x="13612" y="1316"/>
                      </a:cubicBezTo>
                      <a:cubicBezTo>
                        <a:pt x="13698" y="1286"/>
                        <a:pt x="13766" y="1301"/>
                        <a:pt x="13852" y="1331"/>
                      </a:cubicBezTo>
                      <a:cubicBezTo>
                        <a:pt x="13894" y="1343"/>
                        <a:pt x="13980" y="1387"/>
                        <a:pt x="13980" y="1443"/>
                      </a:cubicBezTo>
                      <a:cubicBezTo>
                        <a:pt x="13980" y="1485"/>
                        <a:pt x="13923" y="1514"/>
                        <a:pt x="13923" y="1571"/>
                      </a:cubicBezTo>
                      <a:cubicBezTo>
                        <a:pt x="13923" y="1642"/>
                        <a:pt x="13965" y="1853"/>
                        <a:pt x="14051" y="1725"/>
                      </a:cubicBezTo>
                      <a:cubicBezTo>
                        <a:pt x="14163" y="1585"/>
                        <a:pt x="14163" y="1755"/>
                        <a:pt x="14276" y="1782"/>
                      </a:cubicBezTo>
                      <a:cubicBezTo>
                        <a:pt x="14333" y="1796"/>
                        <a:pt x="14404" y="1811"/>
                        <a:pt x="14445" y="1853"/>
                      </a:cubicBezTo>
                      <a:cubicBezTo>
                        <a:pt x="14460" y="1882"/>
                        <a:pt x="14445" y="1951"/>
                        <a:pt x="14445" y="1980"/>
                      </a:cubicBezTo>
                      <a:cubicBezTo>
                        <a:pt x="14418" y="2066"/>
                        <a:pt x="14588" y="2051"/>
                        <a:pt x="14531" y="2137"/>
                      </a:cubicBezTo>
                      <a:cubicBezTo>
                        <a:pt x="14475" y="2250"/>
                        <a:pt x="14318" y="2206"/>
                        <a:pt x="14276" y="2389"/>
                      </a:cubicBezTo>
                      <a:cubicBezTo>
                        <a:pt x="14235" y="2617"/>
                        <a:pt x="14445" y="2517"/>
                        <a:pt x="14531" y="2448"/>
                      </a:cubicBezTo>
                      <a:cubicBezTo>
                        <a:pt x="14617" y="2377"/>
                        <a:pt x="14715" y="2419"/>
                        <a:pt x="14786" y="2348"/>
                      </a:cubicBezTo>
                      <a:cubicBezTo>
                        <a:pt x="14842" y="2306"/>
                        <a:pt x="14899" y="2220"/>
                        <a:pt x="14970" y="2235"/>
                      </a:cubicBezTo>
                      <a:cubicBezTo>
                        <a:pt x="15124" y="2291"/>
                        <a:pt x="15139" y="2164"/>
                        <a:pt x="15240" y="2179"/>
                      </a:cubicBezTo>
                      <a:cubicBezTo>
                        <a:pt x="15281" y="2193"/>
                        <a:pt x="15296" y="2235"/>
                        <a:pt x="15365" y="2235"/>
                      </a:cubicBezTo>
                      <a:cubicBezTo>
                        <a:pt x="15423" y="2235"/>
                        <a:pt x="15480" y="2179"/>
                        <a:pt x="15536" y="2149"/>
                      </a:cubicBezTo>
                      <a:cubicBezTo>
                        <a:pt x="15664" y="2149"/>
                        <a:pt x="15874" y="2377"/>
                        <a:pt x="15960" y="2235"/>
                      </a:cubicBezTo>
                      <a:cubicBezTo>
                        <a:pt x="16088" y="2022"/>
                        <a:pt x="16230" y="2235"/>
                        <a:pt x="16370" y="2206"/>
                      </a:cubicBezTo>
                      <a:cubicBezTo>
                        <a:pt x="16455" y="2179"/>
                        <a:pt x="16527" y="1755"/>
                        <a:pt x="16568" y="1669"/>
                      </a:cubicBezTo>
                      <a:cubicBezTo>
                        <a:pt x="16669" y="1485"/>
                        <a:pt x="16909" y="1500"/>
                        <a:pt x="17036" y="1642"/>
                      </a:cubicBezTo>
                      <a:cubicBezTo>
                        <a:pt x="17093" y="1725"/>
                        <a:pt x="17191" y="1710"/>
                        <a:pt x="17277" y="1725"/>
                      </a:cubicBezTo>
                      <a:cubicBezTo>
                        <a:pt x="17375" y="1725"/>
                        <a:pt x="17588" y="1811"/>
                        <a:pt x="17588" y="1938"/>
                      </a:cubicBezTo>
                      <a:cubicBezTo>
                        <a:pt x="17588" y="2081"/>
                        <a:pt x="17532" y="2137"/>
                        <a:pt x="17603" y="2277"/>
                      </a:cubicBezTo>
                      <a:cubicBezTo>
                        <a:pt x="17659" y="2348"/>
                        <a:pt x="17659" y="2348"/>
                        <a:pt x="17659" y="2348"/>
                      </a:cubicBezTo>
                      <a:lnTo>
                        <a:pt x="17659" y="2348"/>
                      </a:lnTo>
                      <a:cubicBezTo>
                        <a:pt x="17644" y="2389"/>
                        <a:pt x="17588" y="2404"/>
                        <a:pt x="17573" y="2461"/>
                      </a:cubicBezTo>
                      <a:cubicBezTo>
                        <a:pt x="17532" y="2573"/>
                        <a:pt x="17475" y="2561"/>
                        <a:pt x="17389" y="2632"/>
                      </a:cubicBezTo>
                      <a:cubicBezTo>
                        <a:pt x="17304" y="2730"/>
                        <a:pt x="17149" y="2843"/>
                        <a:pt x="17022" y="2872"/>
                      </a:cubicBezTo>
                      <a:cubicBezTo>
                        <a:pt x="16865" y="2899"/>
                        <a:pt x="16951" y="3068"/>
                        <a:pt x="16951" y="3184"/>
                      </a:cubicBezTo>
                      <a:cubicBezTo>
                        <a:pt x="16936" y="3311"/>
                        <a:pt x="16965" y="3495"/>
                        <a:pt x="16808" y="3537"/>
                      </a:cubicBezTo>
                      <a:cubicBezTo>
                        <a:pt x="16752" y="3537"/>
                        <a:pt x="16696" y="3578"/>
                        <a:pt x="16654" y="3608"/>
                      </a:cubicBezTo>
                      <a:cubicBezTo>
                        <a:pt x="16598" y="3649"/>
                        <a:pt x="16527" y="3664"/>
                        <a:pt x="16455" y="3691"/>
                      </a:cubicBezTo>
                      <a:cubicBezTo>
                        <a:pt x="16399" y="3735"/>
                        <a:pt x="16200" y="3735"/>
                        <a:pt x="16174" y="3792"/>
                      </a:cubicBezTo>
                      <a:cubicBezTo>
                        <a:pt x="16144" y="3875"/>
                        <a:pt x="16414" y="4159"/>
                        <a:pt x="16470" y="4201"/>
                      </a:cubicBezTo>
                      <a:cubicBezTo>
                        <a:pt x="16568" y="4301"/>
                        <a:pt x="16696" y="4385"/>
                        <a:pt x="16781" y="4497"/>
                      </a:cubicBezTo>
                      <a:cubicBezTo>
                        <a:pt x="16669" y="4654"/>
                        <a:pt x="16399" y="4583"/>
                        <a:pt x="16553" y="4823"/>
                      </a:cubicBezTo>
                      <a:cubicBezTo>
                        <a:pt x="16710" y="5022"/>
                        <a:pt x="16654" y="4868"/>
                        <a:pt x="16823" y="4895"/>
                      </a:cubicBezTo>
                      <a:cubicBezTo>
                        <a:pt x="16921" y="4895"/>
                        <a:pt x="17049" y="4895"/>
                        <a:pt x="17134" y="4924"/>
                      </a:cubicBezTo>
                      <a:cubicBezTo>
                        <a:pt x="17149" y="5022"/>
                        <a:pt x="17049" y="5277"/>
                        <a:pt x="16980" y="5333"/>
                      </a:cubicBezTo>
                      <a:cubicBezTo>
                        <a:pt x="16879" y="5431"/>
                        <a:pt x="16740" y="5390"/>
                        <a:pt x="16669" y="5476"/>
                      </a:cubicBezTo>
                      <a:cubicBezTo>
                        <a:pt x="16639" y="5517"/>
                        <a:pt x="16527" y="5615"/>
                        <a:pt x="16568" y="5659"/>
                      </a:cubicBezTo>
                      <a:cubicBezTo>
                        <a:pt x="16598" y="5716"/>
                        <a:pt x="16669" y="5743"/>
                        <a:pt x="16710" y="5799"/>
                      </a:cubicBezTo>
                      <a:cubicBezTo>
                        <a:pt x="16752" y="5843"/>
                        <a:pt x="16992" y="5799"/>
                        <a:pt x="16865" y="5900"/>
                      </a:cubicBezTo>
                      <a:cubicBezTo>
                        <a:pt x="16752" y="5998"/>
                        <a:pt x="16879" y="6083"/>
                        <a:pt x="16965" y="6125"/>
                      </a:cubicBezTo>
                      <a:cubicBezTo>
                        <a:pt x="17007" y="6125"/>
                        <a:pt x="17164" y="6154"/>
                        <a:pt x="17078" y="6211"/>
                      </a:cubicBezTo>
                      <a:cubicBezTo>
                        <a:pt x="16992" y="6282"/>
                        <a:pt x="16992" y="6282"/>
                        <a:pt x="16951" y="6365"/>
                      </a:cubicBezTo>
                      <a:cubicBezTo>
                        <a:pt x="16921" y="6422"/>
                        <a:pt x="16865" y="6436"/>
                        <a:pt x="16823" y="6478"/>
                      </a:cubicBezTo>
                      <a:cubicBezTo>
                        <a:pt x="16710" y="6650"/>
                        <a:pt x="16767" y="6917"/>
                        <a:pt x="16767" y="7115"/>
                      </a:cubicBezTo>
                      <a:cubicBezTo>
                        <a:pt x="16767" y="7172"/>
                        <a:pt x="16781" y="7314"/>
                        <a:pt x="16710" y="7343"/>
                      </a:cubicBezTo>
                      <a:cubicBezTo>
                        <a:pt x="16610" y="7370"/>
                        <a:pt x="16541" y="7299"/>
                        <a:pt x="16583" y="7483"/>
                      </a:cubicBezTo>
                      <a:cubicBezTo>
                        <a:pt x="16598" y="7584"/>
                        <a:pt x="16497" y="7640"/>
                        <a:pt x="16568" y="7753"/>
                      </a:cubicBezTo>
                      <a:cubicBezTo>
                        <a:pt x="16598" y="7809"/>
                        <a:pt x="16681" y="7836"/>
                        <a:pt x="16710" y="7895"/>
                      </a:cubicBezTo>
                      <a:cubicBezTo>
                        <a:pt x="16752" y="7951"/>
                        <a:pt x="16808" y="7978"/>
                        <a:pt x="16865" y="7937"/>
                      </a:cubicBezTo>
                      <a:cubicBezTo>
                        <a:pt x="16921" y="7907"/>
                        <a:pt x="16936" y="7723"/>
                        <a:pt x="17022" y="7753"/>
                      </a:cubicBezTo>
                      <a:cubicBezTo>
                        <a:pt x="17049" y="7767"/>
                        <a:pt x="17078" y="7794"/>
                        <a:pt x="17093" y="7809"/>
                      </a:cubicBezTo>
                      <a:cubicBezTo>
                        <a:pt x="17134" y="7851"/>
                        <a:pt x="17176" y="7836"/>
                        <a:pt x="17220" y="7851"/>
                      </a:cubicBezTo>
                      <a:cubicBezTo>
                        <a:pt x="17333" y="7809"/>
                        <a:pt x="17333" y="7809"/>
                        <a:pt x="17333" y="7809"/>
                      </a:cubicBezTo>
                      <a:lnTo>
                        <a:pt x="17333" y="7809"/>
                      </a:lnTo>
                      <a:cubicBezTo>
                        <a:pt x="17348" y="8544"/>
                        <a:pt x="17348" y="8544"/>
                        <a:pt x="17348" y="8544"/>
                      </a:cubicBezTo>
                      <a:cubicBezTo>
                        <a:pt x="17375" y="8714"/>
                        <a:pt x="17078" y="8856"/>
                        <a:pt x="16951" y="8885"/>
                      </a:cubicBezTo>
                      <a:cubicBezTo>
                        <a:pt x="16894" y="8897"/>
                        <a:pt x="16838" y="8912"/>
                        <a:pt x="16796" y="8927"/>
                      </a:cubicBezTo>
                      <a:cubicBezTo>
                        <a:pt x="16610" y="8927"/>
                        <a:pt x="16455" y="8927"/>
                        <a:pt x="16286" y="8885"/>
                      </a:cubicBezTo>
                      <a:cubicBezTo>
                        <a:pt x="16215" y="8856"/>
                        <a:pt x="15848" y="8758"/>
                        <a:pt x="15818" y="8714"/>
                      </a:cubicBezTo>
                      <a:cubicBezTo>
                        <a:pt x="15620" y="8687"/>
                        <a:pt x="15112" y="8574"/>
                        <a:pt x="14941" y="8672"/>
                      </a:cubicBezTo>
                      <a:cubicBezTo>
                        <a:pt x="14546" y="8672"/>
                        <a:pt x="14193" y="8897"/>
                        <a:pt x="13879" y="9125"/>
                      </a:cubicBezTo>
                      <a:cubicBezTo>
                        <a:pt x="13766" y="9196"/>
                        <a:pt x="13612" y="9464"/>
                        <a:pt x="13514" y="9508"/>
                      </a:cubicBezTo>
                      <a:cubicBezTo>
                        <a:pt x="13514" y="9508"/>
                        <a:pt x="13514" y="9508"/>
                        <a:pt x="13514" y="9520"/>
                      </a:cubicBezTo>
                      <a:cubicBezTo>
                        <a:pt x="13301" y="9804"/>
                        <a:pt x="13301" y="9804"/>
                        <a:pt x="13301" y="9804"/>
                      </a:cubicBezTo>
                      <a:lnTo>
                        <a:pt x="13301" y="9804"/>
                      </a:lnTo>
                      <a:cubicBezTo>
                        <a:pt x="7386" y="9861"/>
                        <a:pt x="7386" y="9861"/>
                        <a:pt x="7386" y="9861"/>
                      </a:cubicBezTo>
                      <a:lnTo>
                        <a:pt x="7386" y="9861"/>
                      </a:lnTo>
                      <a:cubicBezTo>
                        <a:pt x="5179" y="9831"/>
                        <a:pt x="5179" y="9831"/>
                        <a:pt x="5179" y="9831"/>
                      </a:cubicBezTo>
                      <a:lnTo>
                        <a:pt x="5179" y="9831"/>
                      </a:lnTo>
                      <a:cubicBezTo>
                        <a:pt x="5165" y="9748"/>
                        <a:pt x="5165" y="9748"/>
                        <a:pt x="5165" y="9748"/>
                      </a:cubicBezTo>
                      <a:cubicBezTo>
                        <a:pt x="5123" y="9692"/>
                        <a:pt x="5123" y="9692"/>
                        <a:pt x="5123" y="9692"/>
                      </a:cubicBezTo>
                      <a:cubicBezTo>
                        <a:pt x="5150" y="9647"/>
                        <a:pt x="5150" y="9647"/>
                        <a:pt x="5150" y="9647"/>
                      </a:cubicBezTo>
                      <a:cubicBezTo>
                        <a:pt x="5108" y="9564"/>
                        <a:pt x="5108" y="9564"/>
                        <a:pt x="5108" y="9564"/>
                      </a:cubicBezTo>
                      <a:cubicBezTo>
                        <a:pt x="3439" y="9493"/>
                        <a:pt x="3439" y="9493"/>
                        <a:pt x="3439" y="9493"/>
                      </a:cubicBezTo>
                      <a:cubicBezTo>
                        <a:pt x="2959" y="9152"/>
                        <a:pt x="2959" y="9152"/>
                        <a:pt x="2959" y="9152"/>
                      </a:cubicBezTo>
                      <a:cubicBezTo>
                        <a:pt x="2843" y="8954"/>
                        <a:pt x="2843" y="8954"/>
                        <a:pt x="2843" y="8954"/>
                      </a:cubicBezTo>
                      <a:cubicBezTo>
                        <a:pt x="2633" y="8968"/>
                        <a:pt x="2633" y="8968"/>
                        <a:pt x="2633" y="8968"/>
                      </a:cubicBezTo>
                      <a:cubicBezTo>
                        <a:pt x="1782" y="8530"/>
                        <a:pt x="1782" y="8530"/>
                        <a:pt x="1782" y="8530"/>
                      </a:cubicBezTo>
                      <a:cubicBezTo>
                        <a:pt x="1316" y="8361"/>
                        <a:pt x="1316" y="8361"/>
                        <a:pt x="1316" y="8361"/>
                      </a:cubicBezTo>
                      <a:cubicBezTo>
                        <a:pt x="1260" y="8361"/>
                        <a:pt x="1260" y="8361"/>
                        <a:pt x="1260" y="8361"/>
                      </a:cubicBezTo>
                      <a:cubicBezTo>
                        <a:pt x="806" y="8206"/>
                        <a:pt x="806" y="8206"/>
                        <a:pt x="806" y="8206"/>
                      </a:cubicBezTo>
                      <a:cubicBezTo>
                        <a:pt x="480" y="7922"/>
                        <a:pt x="480" y="7922"/>
                        <a:pt x="480" y="7922"/>
                      </a:cubicBezTo>
                      <a:cubicBezTo>
                        <a:pt x="0" y="7993"/>
                        <a:pt x="0" y="7993"/>
                        <a:pt x="0" y="7993"/>
                      </a:cubicBezTo>
                      <a:cubicBezTo>
                        <a:pt x="171" y="7824"/>
                        <a:pt x="171" y="7824"/>
                        <a:pt x="171" y="7824"/>
                      </a:cubicBezTo>
                      <a:lnTo>
                        <a:pt x="171" y="7824"/>
                      </a:lnTo>
                      <a:cubicBezTo>
                        <a:pt x="596" y="7512"/>
                        <a:pt x="596" y="7512"/>
                        <a:pt x="596" y="7512"/>
                      </a:cubicBezTo>
                      <a:cubicBezTo>
                        <a:pt x="1726" y="6650"/>
                        <a:pt x="1726" y="6650"/>
                        <a:pt x="1726" y="6650"/>
                      </a:cubicBezTo>
                      <a:cubicBezTo>
                        <a:pt x="1770" y="6534"/>
                        <a:pt x="1770" y="6534"/>
                        <a:pt x="1770" y="6534"/>
                      </a:cubicBezTo>
                      <a:cubicBezTo>
                        <a:pt x="1613" y="6409"/>
                        <a:pt x="1613" y="6409"/>
                        <a:pt x="1613" y="6409"/>
                      </a:cubicBezTo>
                      <a:cubicBezTo>
                        <a:pt x="1515" y="6282"/>
                        <a:pt x="1515" y="6282"/>
                        <a:pt x="1515" y="6282"/>
                      </a:cubicBezTo>
                      <a:cubicBezTo>
                        <a:pt x="1429" y="6069"/>
                        <a:pt x="1429" y="6069"/>
                        <a:pt x="1429" y="6069"/>
                      </a:cubicBezTo>
                      <a:lnTo>
                        <a:pt x="1429" y="6069"/>
                      </a:lnTo>
                      <a:cubicBezTo>
                        <a:pt x="1657" y="5870"/>
                        <a:pt x="1657" y="5870"/>
                        <a:pt x="1657" y="5870"/>
                      </a:cubicBezTo>
                      <a:cubicBezTo>
                        <a:pt x="1699" y="5757"/>
                        <a:pt x="1598" y="5615"/>
                        <a:pt x="1627" y="5532"/>
                      </a:cubicBezTo>
                      <a:cubicBezTo>
                        <a:pt x="1684" y="5375"/>
                        <a:pt x="2137" y="5603"/>
                        <a:pt x="1968" y="5292"/>
                      </a:cubicBezTo>
                      <a:cubicBezTo>
                        <a:pt x="1882" y="5164"/>
                        <a:pt x="1897" y="5120"/>
                        <a:pt x="2037" y="5135"/>
                      </a:cubicBezTo>
                      <a:cubicBezTo>
                        <a:pt x="2096" y="5135"/>
                        <a:pt x="2152" y="5108"/>
                        <a:pt x="2164" y="5064"/>
                      </a:cubicBezTo>
                      <a:cubicBezTo>
                        <a:pt x="2194" y="5007"/>
                        <a:pt x="2164" y="4936"/>
                        <a:pt x="2194" y="4895"/>
                      </a:cubicBezTo>
                      <a:cubicBezTo>
                        <a:pt x="2235" y="4809"/>
                        <a:pt x="2179" y="4598"/>
                        <a:pt x="2321" y="4625"/>
                      </a:cubicBezTo>
                      <a:cubicBezTo>
                        <a:pt x="2520" y="4669"/>
                        <a:pt x="2944" y="4880"/>
                        <a:pt x="3128" y="4767"/>
                      </a:cubicBezTo>
                      <a:cubicBezTo>
                        <a:pt x="3226" y="4711"/>
                        <a:pt x="3410" y="4752"/>
                        <a:pt x="3454" y="4654"/>
                      </a:cubicBezTo>
                      <a:cubicBezTo>
                        <a:pt x="3510" y="4527"/>
                        <a:pt x="3510" y="4485"/>
                        <a:pt x="3665" y="4485"/>
                      </a:cubicBezTo>
                      <a:cubicBezTo>
                        <a:pt x="3792" y="4441"/>
                        <a:pt x="3821" y="4613"/>
                        <a:pt x="3919" y="4385"/>
                      </a:cubicBezTo>
                      <a:cubicBezTo>
                        <a:pt x="3949" y="4301"/>
                        <a:pt x="4020" y="4216"/>
                        <a:pt x="4089" y="4145"/>
                      </a:cubicBezTo>
                      <a:cubicBezTo>
                        <a:pt x="4145" y="4088"/>
                        <a:pt x="4216" y="4088"/>
                        <a:pt x="4260" y="4046"/>
                      </a:cubicBezTo>
                      <a:cubicBezTo>
                        <a:pt x="4317" y="4002"/>
                        <a:pt x="4344" y="3833"/>
                        <a:pt x="4385" y="3762"/>
                      </a:cubicBezTo>
                      <a:cubicBezTo>
                        <a:pt x="4444" y="3635"/>
                        <a:pt x="4527" y="3593"/>
                        <a:pt x="4640" y="3507"/>
                      </a:cubicBezTo>
                      <a:cubicBezTo>
                        <a:pt x="4741" y="3439"/>
                        <a:pt x="4711" y="3267"/>
                        <a:pt x="4797" y="3169"/>
                      </a:cubicBezTo>
                      <a:cubicBezTo>
                        <a:pt x="4939" y="3027"/>
                        <a:pt x="5023" y="2899"/>
                        <a:pt x="5123" y="2715"/>
                      </a:cubicBezTo>
                      <a:cubicBezTo>
                        <a:pt x="5206" y="2573"/>
                        <a:pt x="5251" y="2490"/>
                        <a:pt x="5405" y="2434"/>
                      </a:cubicBezTo>
                      <a:cubicBezTo>
                        <a:pt x="5630" y="2348"/>
                        <a:pt x="5532" y="2137"/>
                        <a:pt x="5787" y="2010"/>
                      </a:cubicBezTo>
                      <a:cubicBezTo>
                        <a:pt x="6013" y="1894"/>
                        <a:pt x="6057" y="1867"/>
                        <a:pt x="6140" y="1642"/>
                      </a:cubicBezTo>
                      <a:cubicBezTo>
                        <a:pt x="6069" y="1429"/>
                        <a:pt x="6069" y="1429"/>
                        <a:pt x="6069" y="1429"/>
                      </a:cubicBezTo>
                      <a:lnTo>
                        <a:pt x="6069" y="1429"/>
                      </a:lnTo>
                      <a:cubicBezTo>
                        <a:pt x="6099" y="1286"/>
                        <a:pt x="6099" y="1286"/>
                        <a:pt x="6099" y="1286"/>
                      </a:cubicBezTo>
                      <a:cubicBezTo>
                        <a:pt x="6241" y="1316"/>
                        <a:pt x="6226" y="1541"/>
                        <a:pt x="6381" y="1485"/>
                      </a:cubicBezTo>
                      <a:cubicBezTo>
                        <a:pt x="6508" y="1443"/>
                        <a:pt x="7047" y="1046"/>
                        <a:pt x="7104" y="1286"/>
                      </a:cubicBezTo>
                      <a:cubicBezTo>
                        <a:pt x="7145" y="1443"/>
                        <a:pt x="7187" y="1642"/>
                        <a:pt x="7187" y="1811"/>
                      </a:cubicBezTo>
                      <a:cubicBezTo>
                        <a:pt x="7187" y="2206"/>
                        <a:pt x="7273" y="2250"/>
                        <a:pt x="7655" y="2036"/>
                      </a:cubicBezTo>
                      <a:cubicBezTo>
                        <a:pt x="8038" y="1826"/>
                        <a:pt x="7895" y="2448"/>
                        <a:pt x="8334" y="2277"/>
                      </a:cubicBezTo>
                      <a:cubicBezTo>
                        <a:pt x="8660" y="2066"/>
                        <a:pt x="8604" y="2108"/>
                        <a:pt x="8673" y="2448"/>
                      </a:cubicBezTo>
                      <a:cubicBezTo>
                        <a:pt x="8731" y="2674"/>
                        <a:pt x="8871" y="2603"/>
                        <a:pt x="9013" y="2505"/>
                      </a:cubicBezTo>
                      <a:cubicBezTo>
                        <a:pt x="9239" y="2333"/>
                        <a:pt x="9381" y="2434"/>
                        <a:pt x="9366" y="2093"/>
                      </a:cubicBezTo>
                      <a:cubicBezTo>
                        <a:pt x="9366" y="1924"/>
                        <a:pt x="9381" y="1894"/>
                        <a:pt x="9535" y="1867"/>
                      </a:cubicBezTo>
                      <a:cubicBezTo>
                        <a:pt x="9722" y="1838"/>
                        <a:pt x="9665" y="1782"/>
                        <a:pt x="9763" y="1669"/>
                      </a:cubicBezTo>
                      <a:cubicBezTo>
                        <a:pt x="9734" y="1654"/>
                        <a:pt x="9790" y="1627"/>
                        <a:pt x="9805" y="1627"/>
                      </a:cubicBezTo>
                      <a:cubicBezTo>
                        <a:pt x="10018" y="1627"/>
                        <a:pt x="10045" y="1402"/>
                        <a:pt x="10229" y="1331"/>
                      </a:cubicBezTo>
                      <a:cubicBezTo>
                        <a:pt x="10357" y="1286"/>
                        <a:pt x="10457" y="1316"/>
                        <a:pt x="10585" y="1372"/>
                      </a:cubicBezTo>
                      <a:cubicBezTo>
                        <a:pt x="10683" y="1414"/>
                        <a:pt x="10597" y="1669"/>
                        <a:pt x="10555" y="1740"/>
                      </a:cubicBezTo>
                      <a:cubicBezTo>
                        <a:pt x="10457" y="1882"/>
                        <a:pt x="10528" y="1924"/>
                        <a:pt x="10653" y="1853"/>
                      </a:cubicBezTo>
                      <a:cubicBezTo>
                        <a:pt x="10810" y="1782"/>
                        <a:pt x="10781" y="1838"/>
                        <a:pt x="10896" y="1838"/>
                      </a:cubicBezTo>
                      <a:cubicBezTo>
                        <a:pt x="11065" y="1725"/>
                        <a:pt x="11121" y="1882"/>
                        <a:pt x="11178" y="1612"/>
                      </a:cubicBezTo>
                      <a:cubicBezTo>
                        <a:pt x="11192" y="1514"/>
                        <a:pt x="11489" y="1642"/>
                        <a:pt x="11489" y="1485"/>
                      </a:cubicBezTo>
                      <a:cubicBezTo>
                        <a:pt x="11489" y="1485"/>
                        <a:pt x="11489" y="1458"/>
                        <a:pt x="11519" y="1458"/>
                      </a:cubicBezTo>
                      <a:cubicBezTo>
                        <a:pt x="11531" y="1387"/>
                        <a:pt x="11617" y="1414"/>
                        <a:pt x="11545" y="1316"/>
                      </a:cubicBezTo>
                      <a:cubicBezTo>
                        <a:pt x="11418" y="1159"/>
                        <a:pt x="11560" y="1215"/>
                        <a:pt x="11658" y="1174"/>
                      </a:cubicBezTo>
                      <a:cubicBezTo>
                        <a:pt x="11886" y="1046"/>
                        <a:pt x="11590" y="919"/>
                        <a:pt x="11999" y="892"/>
                      </a:cubicBezTo>
                      <a:cubicBezTo>
                        <a:pt x="12198" y="877"/>
                        <a:pt x="12281" y="679"/>
                        <a:pt x="12452" y="622"/>
                      </a:cubicBezTo>
                      <a:cubicBezTo>
                        <a:pt x="12521" y="580"/>
                        <a:pt x="12832" y="353"/>
                        <a:pt x="12622" y="397"/>
                      </a:cubicBezTo>
                      <a:cubicBezTo>
                        <a:pt x="12565" y="409"/>
                        <a:pt x="12381" y="438"/>
                        <a:pt x="12381" y="353"/>
                      </a:cubicBezTo>
                      <a:cubicBezTo>
                        <a:pt x="12381" y="296"/>
                        <a:pt x="12153" y="0"/>
                        <a:pt x="12423" y="100"/>
                      </a:cubicBezTo>
                      <a:cubicBezTo>
                        <a:pt x="12494" y="127"/>
                        <a:pt x="12749" y="198"/>
                        <a:pt x="12820" y="127"/>
                      </a:cubicBezTo>
                    </a:path>
                  </a:pathLst>
                </a:custGeom>
                <a:solidFill>
                  <a:schemeClr val="accent5"/>
                </a:solidFill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/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  <p:sp>
              <p:nvSpPr>
                <p:cNvPr id="43" name="Freeform 14"/>
                <p:cNvSpPr>
                  <a:spLocks noChangeArrowheads="1"/>
                </p:cNvSpPr>
                <p:nvPr/>
              </p:nvSpPr>
              <p:spPr bwMode="auto">
                <a:xfrm>
                  <a:off x="9494199" y="2305629"/>
                  <a:ext cx="1246422" cy="1644227"/>
                </a:xfrm>
                <a:custGeom>
                  <a:avLst/>
                  <a:gdLst>
                    <a:gd name="T0" fmla="*/ 42 w 6990"/>
                    <a:gd name="T1" fmla="*/ 1993 h 8404"/>
                    <a:gd name="T2" fmla="*/ 71 w 6990"/>
                    <a:gd name="T3" fmla="*/ 2277 h 8404"/>
                    <a:gd name="T4" fmla="*/ 296 w 6990"/>
                    <a:gd name="T5" fmla="*/ 2417 h 8404"/>
                    <a:gd name="T6" fmla="*/ 184 w 6990"/>
                    <a:gd name="T7" fmla="*/ 2799 h 8404"/>
                    <a:gd name="T8" fmla="*/ 326 w 6990"/>
                    <a:gd name="T9" fmla="*/ 3167 h 8404"/>
                    <a:gd name="T10" fmla="*/ 694 w 6990"/>
                    <a:gd name="T11" fmla="*/ 3155 h 8404"/>
                    <a:gd name="T12" fmla="*/ 397 w 6990"/>
                    <a:gd name="T13" fmla="*/ 3238 h 8404"/>
                    <a:gd name="T14" fmla="*/ 581 w 6990"/>
                    <a:gd name="T15" fmla="*/ 3437 h 8404"/>
                    <a:gd name="T16" fmla="*/ 637 w 6990"/>
                    <a:gd name="T17" fmla="*/ 3579 h 8404"/>
                    <a:gd name="T18" fmla="*/ 593 w 6990"/>
                    <a:gd name="T19" fmla="*/ 4780 h 8404"/>
                    <a:gd name="T20" fmla="*/ 397 w 6990"/>
                    <a:gd name="T21" fmla="*/ 5148 h 8404"/>
                    <a:gd name="T22" fmla="*/ 877 w 6990"/>
                    <a:gd name="T23" fmla="*/ 5432 h 8404"/>
                    <a:gd name="T24" fmla="*/ 439 w 6990"/>
                    <a:gd name="T25" fmla="*/ 5530 h 8404"/>
                    <a:gd name="T26" fmla="*/ 255 w 6990"/>
                    <a:gd name="T27" fmla="*/ 5729 h 8404"/>
                    <a:gd name="T28" fmla="*/ 213 w 6990"/>
                    <a:gd name="T29" fmla="*/ 5856 h 8404"/>
                    <a:gd name="T30" fmla="*/ 637 w 6990"/>
                    <a:gd name="T31" fmla="*/ 6253 h 8404"/>
                    <a:gd name="T32" fmla="*/ 664 w 6990"/>
                    <a:gd name="T33" fmla="*/ 6621 h 8404"/>
                    <a:gd name="T34" fmla="*/ 750 w 6990"/>
                    <a:gd name="T35" fmla="*/ 7086 h 8404"/>
                    <a:gd name="T36" fmla="*/ 1245 w 6990"/>
                    <a:gd name="T37" fmla="*/ 7060 h 8404"/>
                    <a:gd name="T38" fmla="*/ 1316 w 6990"/>
                    <a:gd name="T39" fmla="*/ 7300 h 8404"/>
                    <a:gd name="T40" fmla="*/ 1669 w 6990"/>
                    <a:gd name="T41" fmla="*/ 7511 h 8404"/>
                    <a:gd name="T42" fmla="*/ 1838 w 6990"/>
                    <a:gd name="T43" fmla="*/ 7709 h 8404"/>
                    <a:gd name="T44" fmla="*/ 1669 w 6990"/>
                    <a:gd name="T45" fmla="*/ 8118 h 8404"/>
                    <a:gd name="T46" fmla="*/ 2179 w 6990"/>
                    <a:gd name="T47" fmla="*/ 8077 h 8404"/>
                    <a:gd name="T48" fmla="*/ 2633 w 6990"/>
                    <a:gd name="T49" fmla="*/ 7908 h 8404"/>
                    <a:gd name="T50" fmla="*/ 2929 w 6990"/>
                    <a:gd name="T51" fmla="*/ 7878 h 8404"/>
                    <a:gd name="T52" fmla="*/ 3763 w 6990"/>
                    <a:gd name="T53" fmla="*/ 7935 h 8404"/>
                    <a:gd name="T54" fmla="*/ 4429 w 6990"/>
                    <a:gd name="T55" fmla="*/ 7371 h 8404"/>
                    <a:gd name="T56" fmla="*/ 4981 w 6990"/>
                    <a:gd name="T57" fmla="*/ 7667 h 8404"/>
                    <a:gd name="T58" fmla="*/ 5052 w 6990"/>
                    <a:gd name="T59" fmla="*/ 8077 h 8404"/>
                    <a:gd name="T60" fmla="*/ 5179 w 6990"/>
                    <a:gd name="T61" fmla="*/ 8133 h 8404"/>
                    <a:gd name="T62" fmla="*/ 6339 w 6990"/>
                    <a:gd name="T63" fmla="*/ 8020 h 8404"/>
                    <a:gd name="T64" fmla="*/ 6226 w 6990"/>
                    <a:gd name="T65" fmla="*/ 7469 h 8404"/>
                    <a:gd name="T66" fmla="*/ 5998 w 6990"/>
                    <a:gd name="T67" fmla="*/ 7143 h 8404"/>
                    <a:gd name="T68" fmla="*/ 5559 w 6990"/>
                    <a:gd name="T69" fmla="*/ 6493 h 8404"/>
                    <a:gd name="T70" fmla="*/ 5814 w 6990"/>
                    <a:gd name="T71" fmla="*/ 6309 h 8404"/>
                    <a:gd name="T72" fmla="*/ 6283 w 6990"/>
                    <a:gd name="T73" fmla="*/ 6153 h 8404"/>
                    <a:gd name="T74" fmla="*/ 6636 w 6990"/>
                    <a:gd name="T75" fmla="*/ 5841 h 8404"/>
                    <a:gd name="T76" fmla="*/ 6989 w 6990"/>
                    <a:gd name="T77" fmla="*/ 5474 h 8404"/>
                    <a:gd name="T78" fmla="*/ 6792 w 6990"/>
                    <a:gd name="T79" fmla="*/ 5035 h 8404"/>
                    <a:gd name="T80" fmla="*/ 5858 w 6990"/>
                    <a:gd name="T81" fmla="*/ 3351 h 8404"/>
                    <a:gd name="T82" fmla="*/ 4966 w 6990"/>
                    <a:gd name="T83" fmla="*/ 2049 h 8404"/>
                    <a:gd name="T84" fmla="*/ 3608 w 6990"/>
                    <a:gd name="T85" fmla="*/ 792 h 8404"/>
                    <a:gd name="T86" fmla="*/ 3721 w 6990"/>
                    <a:gd name="T87" fmla="*/ 608 h 8404"/>
                    <a:gd name="T88" fmla="*/ 4047 w 6990"/>
                    <a:gd name="T89" fmla="*/ 282 h 8404"/>
                    <a:gd name="T90" fmla="*/ 4133 w 6990"/>
                    <a:gd name="T91" fmla="*/ 69 h 8404"/>
                    <a:gd name="T92" fmla="*/ 3934 w 6990"/>
                    <a:gd name="T93" fmla="*/ 56 h 8404"/>
                    <a:gd name="T94" fmla="*/ 3466 w 6990"/>
                    <a:gd name="T95" fmla="*/ 253 h 8404"/>
                    <a:gd name="T96" fmla="*/ 3282 w 6990"/>
                    <a:gd name="T97" fmla="*/ 380 h 8404"/>
                    <a:gd name="T98" fmla="*/ 2461 w 6990"/>
                    <a:gd name="T99" fmla="*/ 691 h 8404"/>
                    <a:gd name="T100" fmla="*/ 2363 w 6990"/>
                    <a:gd name="T101" fmla="*/ 919 h 8404"/>
                    <a:gd name="T102" fmla="*/ 1826 w 6990"/>
                    <a:gd name="T103" fmla="*/ 1287 h 8404"/>
                    <a:gd name="T104" fmla="*/ 1444 w 6990"/>
                    <a:gd name="T105" fmla="*/ 1486 h 8404"/>
                    <a:gd name="T106" fmla="*/ 1203 w 6990"/>
                    <a:gd name="T107" fmla="*/ 1782 h 8404"/>
                    <a:gd name="T108" fmla="*/ 1020 w 6990"/>
                    <a:gd name="T109" fmla="*/ 1895 h 8404"/>
                    <a:gd name="T110" fmla="*/ 963 w 6990"/>
                    <a:gd name="T111" fmla="*/ 1767 h 8404"/>
                    <a:gd name="T112" fmla="*/ 750 w 6990"/>
                    <a:gd name="T113" fmla="*/ 1767 h 8404"/>
                    <a:gd name="T114" fmla="*/ 510 w 6990"/>
                    <a:gd name="T115" fmla="*/ 1655 h 8404"/>
                    <a:gd name="T116" fmla="*/ 42 w 6990"/>
                    <a:gd name="T117" fmla="*/ 1993 h 8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990" h="8404">
                      <a:moveTo>
                        <a:pt x="42" y="1993"/>
                      </a:moveTo>
                      <a:lnTo>
                        <a:pt x="42" y="1993"/>
                      </a:lnTo>
                      <a:cubicBezTo>
                        <a:pt x="142" y="2120"/>
                        <a:pt x="142" y="2120"/>
                        <a:pt x="142" y="2120"/>
                      </a:cubicBezTo>
                      <a:cubicBezTo>
                        <a:pt x="213" y="2277"/>
                        <a:pt x="127" y="2221"/>
                        <a:pt x="71" y="2277"/>
                      </a:cubicBezTo>
                      <a:cubicBezTo>
                        <a:pt x="0" y="2334"/>
                        <a:pt x="15" y="2417"/>
                        <a:pt x="71" y="2488"/>
                      </a:cubicBezTo>
                      <a:cubicBezTo>
                        <a:pt x="127" y="2547"/>
                        <a:pt x="225" y="2390"/>
                        <a:pt x="296" y="2417"/>
                      </a:cubicBezTo>
                      <a:cubicBezTo>
                        <a:pt x="353" y="2446"/>
                        <a:pt x="397" y="2547"/>
                        <a:pt x="353" y="2603"/>
                      </a:cubicBezTo>
                      <a:cubicBezTo>
                        <a:pt x="341" y="2630"/>
                        <a:pt x="56" y="2799"/>
                        <a:pt x="184" y="2799"/>
                      </a:cubicBezTo>
                      <a:cubicBezTo>
                        <a:pt x="341" y="2799"/>
                        <a:pt x="240" y="2900"/>
                        <a:pt x="240" y="2998"/>
                      </a:cubicBezTo>
                      <a:cubicBezTo>
                        <a:pt x="240" y="3040"/>
                        <a:pt x="240" y="3182"/>
                        <a:pt x="326" y="3167"/>
                      </a:cubicBezTo>
                      <a:cubicBezTo>
                        <a:pt x="453" y="3140"/>
                        <a:pt x="453" y="2971"/>
                        <a:pt x="581" y="2927"/>
                      </a:cubicBezTo>
                      <a:cubicBezTo>
                        <a:pt x="694" y="2885"/>
                        <a:pt x="721" y="3084"/>
                        <a:pt x="694" y="3155"/>
                      </a:cubicBezTo>
                      <a:cubicBezTo>
                        <a:pt x="679" y="3211"/>
                        <a:pt x="664" y="3410"/>
                        <a:pt x="566" y="3309"/>
                      </a:cubicBezTo>
                      <a:cubicBezTo>
                        <a:pt x="524" y="3268"/>
                        <a:pt x="468" y="3238"/>
                        <a:pt x="397" y="3238"/>
                      </a:cubicBezTo>
                      <a:cubicBezTo>
                        <a:pt x="341" y="3238"/>
                        <a:pt x="311" y="3324"/>
                        <a:pt x="353" y="3366"/>
                      </a:cubicBezTo>
                      <a:cubicBezTo>
                        <a:pt x="409" y="3451"/>
                        <a:pt x="524" y="3380"/>
                        <a:pt x="581" y="3437"/>
                      </a:cubicBezTo>
                      <a:cubicBezTo>
                        <a:pt x="637" y="3478"/>
                        <a:pt x="637" y="3522"/>
                        <a:pt x="637" y="3579"/>
                      </a:cubicBezTo>
                      <a:lnTo>
                        <a:pt x="637" y="3579"/>
                      </a:lnTo>
                      <a:cubicBezTo>
                        <a:pt x="664" y="4711"/>
                        <a:pt x="664" y="4711"/>
                        <a:pt x="664" y="4711"/>
                      </a:cubicBezTo>
                      <a:cubicBezTo>
                        <a:pt x="679" y="4795"/>
                        <a:pt x="581" y="4724"/>
                        <a:pt x="593" y="4780"/>
                      </a:cubicBezTo>
                      <a:cubicBezTo>
                        <a:pt x="593" y="4824"/>
                        <a:pt x="652" y="4824"/>
                        <a:pt x="652" y="4866"/>
                      </a:cubicBezTo>
                      <a:cubicBezTo>
                        <a:pt x="637" y="4964"/>
                        <a:pt x="353" y="4824"/>
                        <a:pt x="397" y="5148"/>
                      </a:cubicBezTo>
                      <a:cubicBezTo>
                        <a:pt x="424" y="5319"/>
                        <a:pt x="468" y="5331"/>
                        <a:pt x="652" y="5304"/>
                      </a:cubicBezTo>
                      <a:cubicBezTo>
                        <a:pt x="664" y="5304"/>
                        <a:pt x="848" y="5417"/>
                        <a:pt x="877" y="5432"/>
                      </a:cubicBezTo>
                      <a:cubicBezTo>
                        <a:pt x="963" y="5503"/>
                        <a:pt x="792" y="5530"/>
                        <a:pt x="750" y="5530"/>
                      </a:cubicBezTo>
                      <a:cubicBezTo>
                        <a:pt x="637" y="5515"/>
                        <a:pt x="551" y="5432"/>
                        <a:pt x="439" y="5530"/>
                      </a:cubicBezTo>
                      <a:cubicBezTo>
                        <a:pt x="409" y="5559"/>
                        <a:pt x="397" y="5601"/>
                        <a:pt x="368" y="5630"/>
                      </a:cubicBezTo>
                      <a:cubicBezTo>
                        <a:pt x="341" y="5657"/>
                        <a:pt x="270" y="5699"/>
                        <a:pt x="255" y="5729"/>
                      </a:cubicBezTo>
                      <a:cubicBezTo>
                        <a:pt x="213" y="5856"/>
                        <a:pt x="213" y="5856"/>
                        <a:pt x="213" y="5856"/>
                      </a:cubicBezTo>
                      <a:lnTo>
                        <a:pt x="213" y="5856"/>
                      </a:lnTo>
                      <a:cubicBezTo>
                        <a:pt x="608" y="6025"/>
                        <a:pt x="608" y="6025"/>
                        <a:pt x="608" y="6025"/>
                      </a:cubicBezTo>
                      <a:cubicBezTo>
                        <a:pt x="652" y="6111"/>
                        <a:pt x="593" y="6182"/>
                        <a:pt x="637" y="6253"/>
                      </a:cubicBezTo>
                      <a:cubicBezTo>
                        <a:pt x="694" y="6322"/>
                        <a:pt x="637" y="6366"/>
                        <a:pt x="637" y="6449"/>
                      </a:cubicBezTo>
                      <a:cubicBezTo>
                        <a:pt x="637" y="6508"/>
                        <a:pt x="664" y="6550"/>
                        <a:pt x="664" y="6621"/>
                      </a:cubicBezTo>
                      <a:cubicBezTo>
                        <a:pt x="664" y="6692"/>
                        <a:pt x="524" y="6704"/>
                        <a:pt x="524" y="6846"/>
                      </a:cubicBezTo>
                      <a:cubicBezTo>
                        <a:pt x="524" y="7072"/>
                        <a:pt x="468" y="7131"/>
                        <a:pt x="750" y="7086"/>
                      </a:cubicBezTo>
                      <a:cubicBezTo>
                        <a:pt x="836" y="7072"/>
                        <a:pt x="907" y="7072"/>
                        <a:pt x="1005" y="7045"/>
                      </a:cubicBezTo>
                      <a:cubicBezTo>
                        <a:pt x="1091" y="7015"/>
                        <a:pt x="1159" y="7030"/>
                        <a:pt x="1245" y="7060"/>
                      </a:cubicBezTo>
                      <a:cubicBezTo>
                        <a:pt x="1287" y="7072"/>
                        <a:pt x="1373" y="7116"/>
                        <a:pt x="1373" y="7172"/>
                      </a:cubicBezTo>
                      <a:cubicBezTo>
                        <a:pt x="1373" y="7214"/>
                        <a:pt x="1316" y="7243"/>
                        <a:pt x="1316" y="7300"/>
                      </a:cubicBezTo>
                      <a:cubicBezTo>
                        <a:pt x="1316" y="7371"/>
                        <a:pt x="1358" y="7582"/>
                        <a:pt x="1444" y="7454"/>
                      </a:cubicBezTo>
                      <a:cubicBezTo>
                        <a:pt x="1556" y="7314"/>
                        <a:pt x="1556" y="7484"/>
                        <a:pt x="1669" y="7511"/>
                      </a:cubicBezTo>
                      <a:cubicBezTo>
                        <a:pt x="1726" y="7525"/>
                        <a:pt x="1797" y="7540"/>
                        <a:pt x="1838" y="7582"/>
                      </a:cubicBezTo>
                      <a:cubicBezTo>
                        <a:pt x="1853" y="7611"/>
                        <a:pt x="1838" y="7680"/>
                        <a:pt x="1838" y="7709"/>
                      </a:cubicBezTo>
                      <a:cubicBezTo>
                        <a:pt x="1811" y="7795"/>
                        <a:pt x="1981" y="7780"/>
                        <a:pt x="1924" y="7866"/>
                      </a:cubicBezTo>
                      <a:cubicBezTo>
                        <a:pt x="1868" y="7979"/>
                        <a:pt x="1711" y="7935"/>
                        <a:pt x="1669" y="8118"/>
                      </a:cubicBezTo>
                      <a:cubicBezTo>
                        <a:pt x="1628" y="8346"/>
                        <a:pt x="1838" y="8246"/>
                        <a:pt x="1924" y="8177"/>
                      </a:cubicBezTo>
                      <a:cubicBezTo>
                        <a:pt x="2010" y="8106"/>
                        <a:pt x="2108" y="8148"/>
                        <a:pt x="2179" y="8077"/>
                      </a:cubicBezTo>
                      <a:cubicBezTo>
                        <a:pt x="2235" y="8035"/>
                        <a:pt x="2292" y="7949"/>
                        <a:pt x="2363" y="7964"/>
                      </a:cubicBezTo>
                      <a:cubicBezTo>
                        <a:pt x="2517" y="8020"/>
                        <a:pt x="2532" y="7893"/>
                        <a:pt x="2633" y="7908"/>
                      </a:cubicBezTo>
                      <a:cubicBezTo>
                        <a:pt x="2674" y="7922"/>
                        <a:pt x="2689" y="7964"/>
                        <a:pt x="2758" y="7964"/>
                      </a:cubicBezTo>
                      <a:cubicBezTo>
                        <a:pt x="2816" y="7964"/>
                        <a:pt x="2873" y="7908"/>
                        <a:pt x="2929" y="7878"/>
                      </a:cubicBezTo>
                      <a:cubicBezTo>
                        <a:pt x="3057" y="7878"/>
                        <a:pt x="3267" y="8106"/>
                        <a:pt x="3353" y="7964"/>
                      </a:cubicBezTo>
                      <a:cubicBezTo>
                        <a:pt x="3481" y="7751"/>
                        <a:pt x="3623" y="7964"/>
                        <a:pt x="3763" y="7935"/>
                      </a:cubicBezTo>
                      <a:cubicBezTo>
                        <a:pt x="3848" y="7908"/>
                        <a:pt x="3920" y="7484"/>
                        <a:pt x="3961" y="7398"/>
                      </a:cubicBezTo>
                      <a:cubicBezTo>
                        <a:pt x="4062" y="7214"/>
                        <a:pt x="4302" y="7229"/>
                        <a:pt x="4429" y="7371"/>
                      </a:cubicBezTo>
                      <a:cubicBezTo>
                        <a:pt x="4486" y="7454"/>
                        <a:pt x="4584" y="7439"/>
                        <a:pt x="4670" y="7454"/>
                      </a:cubicBezTo>
                      <a:cubicBezTo>
                        <a:pt x="4768" y="7454"/>
                        <a:pt x="4981" y="7540"/>
                        <a:pt x="4981" y="7667"/>
                      </a:cubicBezTo>
                      <a:cubicBezTo>
                        <a:pt x="4981" y="7810"/>
                        <a:pt x="4925" y="7866"/>
                        <a:pt x="4996" y="8006"/>
                      </a:cubicBezTo>
                      <a:cubicBezTo>
                        <a:pt x="5052" y="8077"/>
                        <a:pt x="5052" y="8077"/>
                        <a:pt x="5052" y="8077"/>
                      </a:cubicBezTo>
                      <a:lnTo>
                        <a:pt x="5052" y="8077"/>
                      </a:lnTo>
                      <a:cubicBezTo>
                        <a:pt x="5108" y="8006"/>
                        <a:pt x="5165" y="8077"/>
                        <a:pt x="5179" y="8133"/>
                      </a:cubicBezTo>
                      <a:cubicBezTo>
                        <a:pt x="5248" y="8246"/>
                        <a:pt x="5927" y="8403"/>
                        <a:pt x="6055" y="8332"/>
                      </a:cubicBezTo>
                      <a:cubicBezTo>
                        <a:pt x="6182" y="8275"/>
                        <a:pt x="6324" y="8163"/>
                        <a:pt x="6339" y="8020"/>
                      </a:cubicBezTo>
                      <a:cubicBezTo>
                        <a:pt x="6354" y="7964"/>
                        <a:pt x="6283" y="7724"/>
                        <a:pt x="6226" y="7709"/>
                      </a:cubicBezTo>
                      <a:cubicBezTo>
                        <a:pt x="6211" y="7623"/>
                        <a:pt x="6226" y="7555"/>
                        <a:pt x="6226" y="7469"/>
                      </a:cubicBezTo>
                      <a:cubicBezTo>
                        <a:pt x="6211" y="7383"/>
                        <a:pt x="6211" y="7300"/>
                        <a:pt x="6155" y="7229"/>
                      </a:cubicBezTo>
                      <a:cubicBezTo>
                        <a:pt x="6113" y="7187"/>
                        <a:pt x="6042" y="7214"/>
                        <a:pt x="5998" y="7143"/>
                      </a:cubicBezTo>
                      <a:cubicBezTo>
                        <a:pt x="5915" y="7001"/>
                        <a:pt x="5858" y="7030"/>
                        <a:pt x="5731" y="6944"/>
                      </a:cubicBezTo>
                      <a:cubicBezTo>
                        <a:pt x="5645" y="6888"/>
                        <a:pt x="5476" y="6591"/>
                        <a:pt x="5559" y="6493"/>
                      </a:cubicBezTo>
                      <a:cubicBezTo>
                        <a:pt x="5604" y="6437"/>
                        <a:pt x="5604" y="6464"/>
                        <a:pt x="5660" y="6449"/>
                      </a:cubicBezTo>
                      <a:cubicBezTo>
                        <a:pt x="5731" y="6449"/>
                        <a:pt x="5743" y="6336"/>
                        <a:pt x="5814" y="6309"/>
                      </a:cubicBezTo>
                      <a:cubicBezTo>
                        <a:pt x="5871" y="6265"/>
                        <a:pt x="5915" y="6336"/>
                        <a:pt x="6013" y="6295"/>
                      </a:cubicBezTo>
                      <a:cubicBezTo>
                        <a:pt x="6084" y="6197"/>
                        <a:pt x="6182" y="6197"/>
                        <a:pt x="6283" y="6153"/>
                      </a:cubicBezTo>
                      <a:cubicBezTo>
                        <a:pt x="6354" y="6126"/>
                        <a:pt x="6354" y="6040"/>
                        <a:pt x="6395" y="5969"/>
                      </a:cubicBezTo>
                      <a:cubicBezTo>
                        <a:pt x="6466" y="5885"/>
                        <a:pt x="6579" y="5969"/>
                        <a:pt x="6636" y="5841"/>
                      </a:cubicBezTo>
                      <a:cubicBezTo>
                        <a:pt x="6677" y="5729"/>
                        <a:pt x="6792" y="5743"/>
                        <a:pt x="6834" y="5643"/>
                      </a:cubicBezTo>
                      <a:cubicBezTo>
                        <a:pt x="6819" y="5601"/>
                        <a:pt x="6962" y="5488"/>
                        <a:pt x="6989" y="5474"/>
                      </a:cubicBezTo>
                      <a:lnTo>
                        <a:pt x="6989" y="5474"/>
                      </a:lnTo>
                      <a:cubicBezTo>
                        <a:pt x="6792" y="5035"/>
                        <a:pt x="6792" y="5035"/>
                        <a:pt x="6792" y="5035"/>
                      </a:cubicBezTo>
                      <a:cubicBezTo>
                        <a:pt x="6621" y="4738"/>
                        <a:pt x="6621" y="4738"/>
                        <a:pt x="6621" y="4738"/>
                      </a:cubicBezTo>
                      <a:cubicBezTo>
                        <a:pt x="5858" y="3351"/>
                        <a:pt x="5858" y="3351"/>
                        <a:pt x="5858" y="3351"/>
                      </a:cubicBezTo>
                      <a:cubicBezTo>
                        <a:pt x="5263" y="2319"/>
                        <a:pt x="5263" y="2319"/>
                        <a:pt x="5263" y="2319"/>
                      </a:cubicBezTo>
                      <a:cubicBezTo>
                        <a:pt x="4966" y="2049"/>
                        <a:pt x="4966" y="2049"/>
                        <a:pt x="4966" y="2049"/>
                      </a:cubicBezTo>
                      <a:cubicBezTo>
                        <a:pt x="3679" y="961"/>
                        <a:pt x="3679" y="961"/>
                        <a:pt x="3679" y="961"/>
                      </a:cubicBezTo>
                      <a:cubicBezTo>
                        <a:pt x="3650" y="890"/>
                        <a:pt x="3608" y="875"/>
                        <a:pt x="3608" y="792"/>
                      </a:cubicBezTo>
                      <a:cubicBezTo>
                        <a:pt x="3623" y="721"/>
                        <a:pt x="3567" y="721"/>
                        <a:pt x="3537" y="664"/>
                      </a:cubicBezTo>
                      <a:cubicBezTo>
                        <a:pt x="3510" y="552"/>
                        <a:pt x="3665" y="608"/>
                        <a:pt x="3721" y="608"/>
                      </a:cubicBezTo>
                      <a:cubicBezTo>
                        <a:pt x="3777" y="762"/>
                        <a:pt x="3991" y="495"/>
                        <a:pt x="3991" y="395"/>
                      </a:cubicBezTo>
                      <a:cubicBezTo>
                        <a:pt x="3991" y="353"/>
                        <a:pt x="4032" y="324"/>
                        <a:pt x="4047" y="282"/>
                      </a:cubicBezTo>
                      <a:cubicBezTo>
                        <a:pt x="4062" y="155"/>
                        <a:pt x="3946" y="211"/>
                        <a:pt x="3934" y="169"/>
                      </a:cubicBezTo>
                      <a:cubicBezTo>
                        <a:pt x="3991" y="155"/>
                        <a:pt x="4103" y="113"/>
                        <a:pt x="4133" y="69"/>
                      </a:cubicBezTo>
                      <a:cubicBezTo>
                        <a:pt x="4074" y="0"/>
                        <a:pt x="4160" y="27"/>
                        <a:pt x="4062" y="27"/>
                      </a:cubicBezTo>
                      <a:cubicBezTo>
                        <a:pt x="4018" y="27"/>
                        <a:pt x="3961" y="42"/>
                        <a:pt x="3934" y="56"/>
                      </a:cubicBezTo>
                      <a:cubicBezTo>
                        <a:pt x="3792" y="113"/>
                        <a:pt x="3878" y="240"/>
                        <a:pt x="3721" y="240"/>
                      </a:cubicBezTo>
                      <a:cubicBezTo>
                        <a:pt x="3623" y="240"/>
                        <a:pt x="3567" y="282"/>
                        <a:pt x="3466" y="253"/>
                      </a:cubicBezTo>
                      <a:cubicBezTo>
                        <a:pt x="3297" y="184"/>
                        <a:pt x="3353" y="196"/>
                        <a:pt x="3255" y="324"/>
                      </a:cubicBezTo>
                      <a:cubicBezTo>
                        <a:pt x="3282" y="380"/>
                        <a:pt x="3282" y="380"/>
                        <a:pt x="3282" y="380"/>
                      </a:cubicBezTo>
                      <a:cubicBezTo>
                        <a:pt x="2561" y="706"/>
                        <a:pt x="2561" y="706"/>
                        <a:pt x="2561" y="706"/>
                      </a:cubicBezTo>
                      <a:cubicBezTo>
                        <a:pt x="2461" y="691"/>
                        <a:pt x="2461" y="691"/>
                        <a:pt x="2461" y="691"/>
                      </a:cubicBezTo>
                      <a:cubicBezTo>
                        <a:pt x="2292" y="777"/>
                        <a:pt x="2292" y="777"/>
                        <a:pt x="2292" y="777"/>
                      </a:cubicBezTo>
                      <a:cubicBezTo>
                        <a:pt x="2363" y="919"/>
                        <a:pt x="2363" y="919"/>
                        <a:pt x="2363" y="919"/>
                      </a:cubicBezTo>
                      <a:cubicBezTo>
                        <a:pt x="2321" y="1003"/>
                        <a:pt x="2321" y="1003"/>
                        <a:pt x="2321" y="1003"/>
                      </a:cubicBezTo>
                      <a:cubicBezTo>
                        <a:pt x="2179" y="1074"/>
                        <a:pt x="1966" y="1314"/>
                        <a:pt x="1826" y="1287"/>
                      </a:cubicBezTo>
                      <a:cubicBezTo>
                        <a:pt x="1711" y="1272"/>
                        <a:pt x="1542" y="1216"/>
                        <a:pt x="1542" y="1414"/>
                      </a:cubicBezTo>
                      <a:cubicBezTo>
                        <a:pt x="1485" y="1429"/>
                        <a:pt x="1456" y="1414"/>
                        <a:pt x="1444" y="1486"/>
                      </a:cubicBezTo>
                      <a:cubicBezTo>
                        <a:pt x="1400" y="1569"/>
                        <a:pt x="1400" y="1569"/>
                        <a:pt x="1316" y="1554"/>
                      </a:cubicBezTo>
                      <a:cubicBezTo>
                        <a:pt x="1159" y="1471"/>
                        <a:pt x="1147" y="1696"/>
                        <a:pt x="1203" y="1782"/>
                      </a:cubicBezTo>
                      <a:cubicBezTo>
                        <a:pt x="1216" y="1809"/>
                        <a:pt x="1076" y="2079"/>
                        <a:pt x="1032" y="1910"/>
                      </a:cubicBezTo>
                      <a:cubicBezTo>
                        <a:pt x="1020" y="1910"/>
                        <a:pt x="1020" y="1895"/>
                        <a:pt x="1020" y="1895"/>
                      </a:cubicBezTo>
                      <a:lnTo>
                        <a:pt x="1005" y="1895"/>
                      </a:lnTo>
                      <a:cubicBezTo>
                        <a:pt x="990" y="1838"/>
                        <a:pt x="1020" y="1797"/>
                        <a:pt x="963" y="1767"/>
                      </a:cubicBezTo>
                      <a:cubicBezTo>
                        <a:pt x="919" y="1753"/>
                        <a:pt x="877" y="1711"/>
                        <a:pt x="848" y="1753"/>
                      </a:cubicBezTo>
                      <a:cubicBezTo>
                        <a:pt x="821" y="1753"/>
                        <a:pt x="792" y="1824"/>
                        <a:pt x="750" y="1767"/>
                      </a:cubicBezTo>
                      <a:cubicBezTo>
                        <a:pt x="735" y="1738"/>
                        <a:pt x="750" y="1682"/>
                        <a:pt x="721" y="1655"/>
                      </a:cubicBezTo>
                      <a:cubicBezTo>
                        <a:pt x="694" y="1625"/>
                        <a:pt x="524" y="1625"/>
                        <a:pt x="510" y="1655"/>
                      </a:cubicBezTo>
                      <a:cubicBezTo>
                        <a:pt x="480" y="1711"/>
                        <a:pt x="468" y="1797"/>
                        <a:pt x="397" y="1726"/>
                      </a:cubicBezTo>
                      <a:cubicBezTo>
                        <a:pt x="341" y="1655"/>
                        <a:pt x="154" y="1895"/>
                        <a:pt x="42" y="1993"/>
                      </a:cubicBezTo>
                    </a:path>
                  </a:pathLst>
                </a:custGeom>
                <a:solidFill>
                  <a:schemeClr val="accent5"/>
                </a:solidFill>
                <a:ln w="28575" cap="flat" cmpd="sng">
                  <a:solidFill>
                    <a:schemeClr val="bg1"/>
                  </a:solidFill>
                  <a:bevel/>
                  <a:headEnd/>
                  <a:tailEnd/>
                </a:ln>
                <a:effectLst/>
                <a:extLst/>
              </p:spPr>
              <p:txBody>
                <a:bodyPr wrap="none" lIns="45720" tIns="22860" rIns="45720" bIns="22860" anchor="ctr"/>
                <a:lstStyle/>
                <a:p>
                  <a:endParaRPr lang="en-US" sz="1400" dirty="0">
                    <a:latin typeface="Lato Light" charset="0"/>
                  </a:endParaRPr>
                </a:p>
              </p:txBody>
            </p:sp>
          </p:grpSp>
          <p:sp>
            <p:nvSpPr>
              <p:cNvPr id="35" name="Freeform 15"/>
              <p:cNvSpPr>
                <a:spLocks noChangeArrowheads="1"/>
              </p:cNvSpPr>
              <p:nvPr/>
            </p:nvSpPr>
            <p:spPr bwMode="auto">
              <a:xfrm>
                <a:off x="9587780" y="4906543"/>
                <a:ext cx="1829135" cy="1663206"/>
              </a:xfrm>
              <a:custGeom>
                <a:avLst/>
                <a:gdLst>
                  <a:gd name="T0" fmla="*/ 3550 w 10258"/>
                  <a:gd name="T1" fmla="*/ 6763 h 8504"/>
                  <a:gd name="T2" fmla="*/ 3508 w 10258"/>
                  <a:gd name="T3" fmla="*/ 6988 h 8504"/>
                  <a:gd name="T4" fmla="*/ 3692 w 10258"/>
                  <a:gd name="T5" fmla="*/ 6846 h 8504"/>
                  <a:gd name="T6" fmla="*/ 3650 w 10258"/>
                  <a:gd name="T7" fmla="*/ 6647 h 8504"/>
                  <a:gd name="T8" fmla="*/ 3594 w 10258"/>
                  <a:gd name="T9" fmla="*/ 6662 h 8504"/>
                  <a:gd name="T10" fmla="*/ 2037 w 10258"/>
                  <a:gd name="T11" fmla="*/ 7228 h 8504"/>
                  <a:gd name="T12" fmla="*/ 1626 w 10258"/>
                  <a:gd name="T13" fmla="*/ 6253 h 8504"/>
                  <a:gd name="T14" fmla="*/ 1685 w 10258"/>
                  <a:gd name="T15" fmla="*/ 5319 h 8504"/>
                  <a:gd name="T16" fmla="*/ 1187 w 10258"/>
                  <a:gd name="T17" fmla="*/ 4824 h 8504"/>
                  <a:gd name="T18" fmla="*/ 778 w 10258"/>
                  <a:gd name="T19" fmla="*/ 4228 h 8504"/>
                  <a:gd name="T20" fmla="*/ 312 w 10258"/>
                  <a:gd name="T21" fmla="*/ 3988 h 8504"/>
                  <a:gd name="T22" fmla="*/ 0 w 10258"/>
                  <a:gd name="T23" fmla="*/ 3056 h 8504"/>
                  <a:gd name="T24" fmla="*/ 170 w 10258"/>
                  <a:gd name="T25" fmla="*/ 2235 h 8504"/>
                  <a:gd name="T26" fmla="*/ 748 w 10258"/>
                  <a:gd name="T27" fmla="*/ 1556 h 8504"/>
                  <a:gd name="T28" fmla="*/ 3155 w 10258"/>
                  <a:gd name="T29" fmla="*/ 1316 h 8504"/>
                  <a:gd name="T30" fmla="*/ 4217 w 10258"/>
                  <a:gd name="T31" fmla="*/ 975 h 8504"/>
                  <a:gd name="T32" fmla="*/ 4428 w 10258"/>
                  <a:gd name="T33" fmla="*/ 282 h 8504"/>
                  <a:gd name="T34" fmla="*/ 5107 w 10258"/>
                  <a:gd name="T35" fmla="*/ 56 h 8504"/>
                  <a:gd name="T36" fmla="*/ 6197 w 10258"/>
                  <a:gd name="T37" fmla="*/ 409 h 8504"/>
                  <a:gd name="T38" fmla="*/ 7327 w 10258"/>
                  <a:gd name="T39" fmla="*/ 750 h 8504"/>
                  <a:gd name="T40" fmla="*/ 8629 w 10258"/>
                  <a:gd name="T41" fmla="*/ 1512 h 8504"/>
                  <a:gd name="T42" fmla="*/ 9394 w 10258"/>
                  <a:gd name="T43" fmla="*/ 2348 h 8504"/>
                  <a:gd name="T44" fmla="*/ 9874 w 10258"/>
                  <a:gd name="T45" fmla="*/ 3069 h 8504"/>
                  <a:gd name="T46" fmla="*/ 10242 w 10258"/>
                  <a:gd name="T47" fmla="*/ 3395 h 8504"/>
                  <a:gd name="T48" fmla="*/ 9578 w 10258"/>
                  <a:gd name="T49" fmla="*/ 3579 h 8504"/>
                  <a:gd name="T50" fmla="*/ 8884 w 10258"/>
                  <a:gd name="T51" fmla="*/ 3522 h 8504"/>
                  <a:gd name="T52" fmla="*/ 8332 w 10258"/>
                  <a:gd name="T53" fmla="*/ 3691 h 8504"/>
                  <a:gd name="T54" fmla="*/ 7612 w 10258"/>
                  <a:gd name="T55" fmla="*/ 3875 h 8504"/>
                  <a:gd name="T56" fmla="*/ 7087 w 10258"/>
                  <a:gd name="T57" fmla="*/ 4160 h 8504"/>
                  <a:gd name="T58" fmla="*/ 7372 w 10258"/>
                  <a:gd name="T59" fmla="*/ 4243 h 8504"/>
                  <a:gd name="T60" fmla="*/ 7639 w 10258"/>
                  <a:gd name="T61" fmla="*/ 5233 h 8504"/>
                  <a:gd name="T62" fmla="*/ 7781 w 10258"/>
                  <a:gd name="T63" fmla="*/ 5758 h 8504"/>
                  <a:gd name="T64" fmla="*/ 8065 w 10258"/>
                  <a:gd name="T65" fmla="*/ 6591 h 8504"/>
                  <a:gd name="T66" fmla="*/ 8122 w 10258"/>
                  <a:gd name="T67" fmla="*/ 6988 h 8504"/>
                  <a:gd name="T68" fmla="*/ 7626 w 10258"/>
                  <a:gd name="T69" fmla="*/ 7214 h 8504"/>
                  <a:gd name="T70" fmla="*/ 7514 w 10258"/>
                  <a:gd name="T71" fmla="*/ 7596 h 8504"/>
                  <a:gd name="T72" fmla="*/ 7470 w 10258"/>
                  <a:gd name="T73" fmla="*/ 8219 h 8504"/>
                  <a:gd name="T74" fmla="*/ 7413 w 10258"/>
                  <a:gd name="T75" fmla="*/ 8503 h 8504"/>
                  <a:gd name="T76" fmla="*/ 7200 w 10258"/>
                  <a:gd name="T77" fmla="*/ 8263 h 8504"/>
                  <a:gd name="T78" fmla="*/ 6891 w 10258"/>
                  <a:gd name="T79" fmla="*/ 8091 h 8504"/>
                  <a:gd name="T80" fmla="*/ 6281 w 10258"/>
                  <a:gd name="T81" fmla="*/ 7795 h 8504"/>
                  <a:gd name="T82" fmla="*/ 5219 w 10258"/>
                  <a:gd name="T83" fmla="*/ 7483 h 8504"/>
                  <a:gd name="T84" fmla="*/ 3918 w 10258"/>
                  <a:gd name="T85" fmla="*/ 7398 h 8504"/>
                  <a:gd name="T86" fmla="*/ 3141 w 10258"/>
                  <a:gd name="T87" fmla="*/ 7398 h 8504"/>
                  <a:gd name="T88" fmla="*/ 2788 w 10258"/>
                  <a:gd name="T89" fmla="*/ 7385 h 8504"/>
                  <a:gd name="T90" fmla="*/ 2263 w 10258"/>
                  <a:gd name="T91" fmla="*/ 7412 h 8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258" h="8504">
                    <a:moveTo>
                      <a:pt x="3594" y="6662"/>
                    </a:moveTo>
                    <a:lnTo>
                      <a:pt x="3594" y="6662"/>
                    </a:lnTo>
                    <a:cubicBezTo>
                      <a:pt x="3579" y="6662"/>
                      <a:pt x="3565" y="6733"/>
                      <a:pt x="3550" y="6763"/>
                    </a:cubicBezTo>
                    <a:cubicBezTo>
                      <a:pt x="3538" y="6790"/>
                      <a:pt x="3523" y="6804"/>
                      <a:pt x="3508" y="6819"/>
                    </a:cubicBezTo>
                    <a:cubicBezTo>
                      <a:pt x="3467" y="6861"/>
                      <a:pt x="3479" y="6861"/>
                      <a:pt x="3494" y="6902"/>
                    </a:cubicBezTo>
                    <a:cubicBezTo>
                      <a:pt x="3494" y="6917"/>
                      <a:pt x="3494" y="6961"/>
                      <a:pt x="3508" y="6988"/>
                    </a:cubicBezTo>
                    <a:cubicBezTo>
                      <a:pt x="3538" y="7018"/>
                      <a:pt x="3538" y="6973"/>
                      <a:pt x="3565" y="6961"/>
                    </a:cubicBezTo>
                    <a:cubicBezTo>
                      <a:pt x="3579" y="6947"/>
                      <a:pt x="3594" y="6973"/>
                      <a:pt x="3621" y="6961"/>
                    </a:cubicBezTo>
                    <a:cubicBezTo>
                      <a:pt x="3665" y="6961"/>
                      <a:pt x="3692" y="6902"/>
                      <a:pt x="3692" y="6846"/>
                    </a:cubicBezTo>
                    <a:cubicBezTo>
                      <a:pt x="3692" y="6819"/>
                      <a:pt x="3665" y="6804"/>
                      <a:pt x="3665" y="6775"/>
                    </a:cubicBezTo>
                    <a:cubicBezTo>
                      <a:pt x="3677" y="6733"/>
                      <a:pt x="3707" y="6692"/>
                      <a:pt x="3692" y="6647"/>
                    </a:cubicBezTo>
                    <a:cubicBezTo>
                      <a:pt x="3692" y="6591"/>
                      <a:pt x="3650" y="6621"/>
                      <a:pt x="3650" y="6647"/>
                    </a:cubicBezTo>
                    <a:cubicBezTo>
                      <a:pt x="3650" y="6647"/>
                      <a:pt x="3650" y="6662"/>
                      <a:pt x="3636" y="6662"/>
                    </a:cubicBezTo>
                    <a:lnTo>
                      <a:pt x="3621" y="6647"/>
                    </a:lnTo>
                    <a:cubicBezTo>
                      <a:pt x="3594" y="6662"/>
                      <a:pt x="3594" y="6662"/>
                      <a:pt x="3594" y="6662"/>
                    </a:cubicBezTo>
                    <a:close/>
                    <a:moveTo>
                      <a:pt x="2263" y="7412"/>
                    </a:moveTo>
                    <a:lnTo>
                      <a:pt x="2263" y="7412"/>
                    </a:lnTo>
                    <a:cubicBezTo>
                      <a:pt x="2207" y="7356"/>
                      <a:pt x="2037" y="7314"/>
                      <a:pt x="2037" y="7228"/>
                    </a:cubicBezTo>
                    <a:cubicBezTo>
                      <a:pt x="2052" y="7101"/>
                      <a:pt x="1966" y="7130"/>
                      <a:pt x="1868" y="7101"/>
                    </a:cubicBezTo>
                    <a:cubicBezTo>
                      <a:pt x="1584" y="7018"/>
                      <a:pt x="1711" y="6635"/>
                      <a:pt x="1797" y="6464"/>
                    </a:cubicBezTo>
                    <a:cubicBezTo>
                      <a:pt x="1910" y="6253"/>
                      <a:pt x="1711" y="6366"/>
                      <a:pt x="1626" y="6253"/>
                    </a:cubicBezTo>
                    <a:cubicBezTo>
                      <a:pt x="1599" y="6209"/>
                      <a:pt x="1528" y="6280"/>
                      <a:pt x="1471" y="6253"/>
                    </a:cubicBezTo>
                    <a:cubicBezTo>
                      <a:pt x="1187" y="6096"/>
                      <a:pt x="1513" y="5983"/>
                      <a:pt x="1613" y="5856"/>
                    </a:cubicBezTo>
                    <a:cubicBezTo>
                      <a:pt x="1711" y="5743"/>
                      <a:pt x="1670" y="5488"/>
                      <a:pt x="1685" y="5319"/>
                    </a:cubicBezTo>
                    <a:cubicBezTo>
                      <a:pt x="1697" y="5191"/>
                      <a:pt x="1555" y="5177"/>
                      <a:pt x="1471" y="5093"/>
                    </a:cubicBezTo>
                    <a:cubicBezTo>
                      <a:pt x="1430" y="5049"/>
                      <a:pt x="1400" y="4993"/>
                      <a:pt x="1344" y="4951"/>
                    </a:cubicBezTo>
                    <a:cubicBezTo>
                      <a:pt x="1302" y="4910"/>
                      <a:pt x="1231" y="4851"/>
                      <a:pt x="1187" y="4824"/>
                    </a:cubicBezTo>
                    <a:cubicBezTo>
                      <a:pt x="1118" y="4767"/>
                      <a:pt x="1062" y="4809"/>
                      <a:pt x="1003" y="4809"/>
                    </a:cubicBezTo>
                    <a:cubicBezTo>
                      <a:pt x="890" y="4794"/>
                      <a:pt x="807" y="4569"/>
                      <a:pt x="792" y="4483"/>
                    </a:cubicBezTo>
                    <a:cubicBezTo>
                      <a:pt x="792" y="4427"/>
                      <a:pt x="807" y="4287"/>
                      <a:pt x="778" y="4228"/>
                    </a:cubicBezTo>
                    <a:cubicBezTo>
                      <a:pt x="748" y="4172"/>
                      <a:pt x="552" y="4074"/>
                      <a:pt x="481" y="4059"/>
                    </a:cubicBezTo>
                    <a:cubicBezTo>
                      <a:pt x="439" y="4059"/>
                      <a:pt x="324" y="4059"/>
                      <a:pt x="312" y="4003"/>
                    </a:cubicBezTo>
                    <a:cubicBezTo>
                      <a:pt x="312" y="4003"/>
                      <a:pt x="312" y="4003"/>
                      <a:pt x="312" y="3988"/>
                    </a:cubicBezTo>
                    <a:cubicBezTo>
                      <a:pt x="184" y="3664"/>
                      <a:pt x="184" y="3664"/>
                      <a:pt x="184" y="3664"/>
                    </a:cubicBezTo>
                    <a:cubicBezTo>
                      <a:pt x="170" y="3493"/>
                      <a:pt x="170" y="3493"/>
                      <a:pt x="170" y="3493"/>
                    </a:cubicBezTo>
                    <a:cubicBezTo>
                      <a:pt x="0" y="3056"/>
                      <a:pt x="0" y="3056"/>
                      <a:pt x="0" y="3056"/>
                    </a:cubicBezTo>
                    <a:cubicBezTo>
                      <a:pt x="113" y="2446"/>
                      <a:pt x="113" y="2446"/>
                      <a:pt x="113" y="2446"/>
                    </a:cubicBezTo>
                    <a:cubicBezTo>
                      <a:pt x="170" y="2235"/>
                      <a:pt x="170" y="2235"/>
                      <a:pt x="170" y="2235"/>
                    </a:cubicBezTo>
                    <a:lnTo>
                      <a:pt x="170" y="2235"/>
                    </a:lnTo>
                    <a:cubicBezTo>
                      <a:pt x="383" y="1951"/>
                      <a:pt x="383" y="1951"/>
                      <a:pt x="383" y="1951"/>
                    </a:cubicBezTo>
                    <a:cubicBezTo>
                      <a:pt x="383" y="1939"/>
                      <a:pt x="383" y="1939"/>
                      <a:pt x="383" y="1939"/>
                    </a:cubicBezTo>
                    <a:cubicBezTo>
                      <a:pt x="481" y="1895"/>
                      <a:pt x="635" y="1627"/>
                      <a:pt x="748" y="1556"/>
                    </a:cubicBezTo>
                    <a:cubicBezTo>
                      <a:pt x="1062" y="1328"/>
                      <a:pt x="1415" y="1103"/>
                      <a:pt x="1810" y="1103"/>
                    </a:cubicBezTo>
                    <a:cubicBezTo>
                      <a:pt x="1981" y="1005"/>
                      <a:pt x="2489" y="1118"/>
                      <a:pt x="2687" y="1145"/>
                    </a:cubicBezTo>
                    <a:cubicBezTo>
                      <a:pt x="2717" y="1189"/>
                      <a:pt x="3084" y="1287"/>
                      <a:pt x="3155" y="1316"/>
                    </a:cubicBezTo>
                    <a:cubicBezTo>
                      <a:pt x="3324" y="1358"/>
                      <a:pt x="3479" y="1358"/>
                      <a:pt x="3665" y="1358"/>
                    </a:cubicBezTo>
                    <a:cubicBezTo>
                      <a:pt x="3707" y="1343"/>
                      <a:pt x="3763" y="1328"/>
                      <a:pt x="3820" y="1316"/>
                    </a:cubicBezTo>
                    <a:cubicBezTo>
                      <a:pt x="3947" y="1287"/>
                      <a:pt x="4244" y="1145"/>
                      <a:pt x="4217" y="975"/>
                    </a:cubicBezTo>
                    <a:cubicBezTo>
                      <a:pt x="4202" y="240"/>
                      <a:pt x="4202" y="240"/>
                      <a:pt x="4202" y="240"/>
                    </a:cubicBezTo>
                    <a:lnTo>
                      <a:pt x="4202" y="240"/>
                    </a:lnTo>
                    <a:cubicBezTo>
                      <a:pt x="4273" y="184"/>
                      <a:pt x="4371" y="267"/>
                      <a:pt x="4428" y="282"/>
                    </a:cubicBezTo>
                    <a:cubicBezTo>
                      <a:pt x="4513" y="311"/>
                      <a:pt x="4584" y="240"/>
                      <a:pt x="4611" y="169"/>
                    </a:cubicBezTo>
                    <a:cubicBezTo>
                      <a:pt x="4712" y="15"/>
                      <a:pt x="4724" y="326"/>
                      <a:pt x="4866" y="225"/>
                    </a:cubicBezTo>
                    <a:cubicBezTo>
                      <a:pt x="4910" y="198"/>
                      <a:pt x="5035" y="0"/>
                      <a:pt x="5107" y="56"/>
                    </a:cubicBezTo>
                    <a:cubicBezTo>
                      <a:pt x="5192" y="142"/>
                      <a:pt x="5376" y="282"/>
                      <a:pt x="5504" y="296"/>
                    </a:cubicBezTo>
                    <a:cubicBezTo>
                      <a:pt x="5673" y="296"/>
                      <a:pt x="5589" y="466"/>
                      <a:pt x="5830" y="466"/>
                    </a:cubicBezTo>
                    <a:cubicBezTo>
                      <a:pt x="6197" y="409"/>
                      <a:pt x="6197" y="409"/>
                      <a:pt x="6197" y="409"/>
                    </a:cubicBezTo>
                    <a:cubicBezTo>
                      <a:pt x="6521" y="946"/>
                      <a:pt x="6521" y="946"/>
                      <a:pt x="6521" y="946"/>
                    </a:cubicBezTo>
                    <a:cubicBezTo>
                      <a:pt x="7045" y="792"/>
                      <a:pt x="7045" y="792"/>
                      <a:pt x="7045" y="792"/>
                    </a:cubicBezTo>
                    <a:cubicBezTo>
                      <a:pt x="7144" y="762"/>
                      <a:pt x="7229" y="750"/>
                      <a:pt x="7327" y="750"/>
                    </a:cubicBezTo>
                    <a:cubicBezTo>
                      <a:pt x="7455" y="762"/>
                      <a:pt x="7413" y="821"/>
                      <a:pt x="7470" y="890"/>
                    </a:cubicBezTo>
                    <a:cubicBezTo>
                      <a:pt x="7597" y="1046"/>
                      <a:pt x="8021" y="1132"/>
                      <a:pt x="8205" y="1230"/>
                    </a:cubicBezTo>
                    <a:cubicBezTo>
                      <a:pt x="8629" y="1512"/>
                      <a:pt x="8629" y="1512"/>
                      <a:pt x="8629" y="1512"/>
                    </a:cubicBezTo>
                    <a:cubicBezTo>
                      <a:pt x="8757" y="1598"/>
                      <a:pt x="8842" y="1456"/>
                      <a:pt x="8955" y="1414"/>
                    </a:cubicBezTo>
                    <a:cubicBezTo>
                      <a:pt x="9056" y="1385"/>
                      <a:pt x="9139" y="1328"/>
                      <a:pt x="9083" y="1485"/>
                    </a:cubicBezTo>
                    <a:cubicBezTo>
                      <a:pt x="8955" y="1797"/>
                      <a:pt x="9239" y="2078"/>
                      <a:pt x="9394" y="2348"/>
                    </a:cubicBezTo>
                    <a:cubicBezTo>
                      <a:pt x="9379" y="2404"/>
                      <a:pt x="9507" y="2532"/>
                      <a:pt x="9551" y="2574"/>
                    </a:cubicBezTo>
                    <a:cubicBezTo>
                      <a:pt x="9622" y="2645"/>
                      <a:pt x="9776" y="2745"/>
                      <a:pt x="9735" y="2858"/>
                    </a:cubicBezTo>
                    <a:cubicBezTo>
                      <a:pt x="9705" y="2927"/>
                      <a:pt x="9747" y="3069"/>
                      <a:pt x="9874" y="3069"/>
                    </a:cubicBezTo>
                    <a:lnTo>
                      <a:pt x="9874" y="3069"/>
                    </a:lnTo>
                    <a:cubicBezTo>
                      <a:pt x="9874" y="3083"/>
                      <a:pt x="9874" y="3083"/>
                      <a:pt x="9889" y="3098"/>
                    </a:cubicBezTo>
                    <a:cubicBezTo>
                      <a:pt x="10002" y="3196"/>
                      <a:pt x="10242" y="3211"/>
                      <a:pt x="10242" y="3395"/>
                    </a:cubicBezTo>
                    <a:cubicBezTo>
                      <a:pt x="10257" y="3593"/>
                      <a:pt x="10230" y="3735"/>
                      <a:pt x="10031" y="3664"/>
                    </a:cubicBezTo>
                    <a:cubicBezTo>
                      <a:pt x="9833" y="3608"/>
                      <a:pt x="9904" y="3564"/>
                      <a:pt x="9720" y="3635"/>
                    </a:cubicBezTo>
                    <a:cubicBezTo>
                      <a:pt x="9634" y="3650"/>
                      <a:pt x="9720" y="3537"/>
                      <a:pt x="9578" y="3579"/>
                    </a:cubicBezTo>
                    <a:cubicBezTo>
                      <a:pt x="9450" y="3620"/>
                      <a:pt x="9394" y="3493"/>
                      <a:pt x="9352" y="3424"/>
                    </a:cubicBezTo>
                    <a:cubicBezTo>
                      <a:pt x="9252" y="3253"/>
                      <a:pt x="9183" y="3436"/>
                      <a:pt x="9083" y="3395"/>
                    </a:cubicBezTo>
                    <a:cubicBezTo>
                      <a:pt x="9026" y="3451"/>
                      <a:pt x="8984" y="3537"/>
                      <a:pt x="8884" y="3522"/>
                    </a:cubicBezTo>
                    <a:cubicBezTo>
                      <a:pt x="8857" y="3508"/>
                      <a:pt x="8602" y="3579"/>
                      <a:pt x="8602" y="3608"/>
                    </a:cubicBezTo>
                    <a:cubicBezTo>
                      <a:pt x="8546" y="3635"/>
                      <a:pt x="8475" y="3691"/>
                      <a:pt x="8418" y="3706"/>
                    </a:cubicBezTo>
                    <a:cubicBezTo>
                      <a:pt x="8404" y="3721"/>
                      <a:pt x="8362" y="3691"/>
                      <a:pt x="8332" y="3691"/>
                    </a:cubicBezTo>
                    <a:cubicBezTo>
                      <a:pt x="8249" y="3735"/>
                      <a:pt x="8261" y="3792"/>
                      <a:pt x="8163" y="3735"/>
                    </a:cubicBezTo>
                    <a:cubicBezTo>
                      <a:pt x="8036" y="3679"/>
                      <a:pt x="7938" y="3819"/>
                      <a:pt x="7810" y="3792"/>
                    </a:cubicBezTo>
                    <a:cubicBezTo>
                      <a:pt x="7683" y="3762"/>
                      <a:pt x="7710" y="3875"/>
                      <a:pt x="7612" y="3875"/>
                    </a:cubicBezTo>
                    <a:cubicBezTo>
                      <a:pt x="7315" y="3905"/>
                      <a:pt x="7315" y="3905"/>
                      <a:pt x="7315" y="3905"/>
                    </a:cubicBezTo>
                    <a:cubicBezTo>
                      <a:pt x="7244" y="3919"/>
                      <a:pt x="7075" y="4088"/>
                      <a:pt x="7075" y="4145"/>
                    </a:cubicBezTo>
                    <a:cubicBezTo>
                      <a:pt x="7087" y="4160"/>
                      <a:pt x="7087" y="4160"/>
                      <a:pt x="7087" y="4160"/>
                    </a:cubicBezTo>
                    <a:cubicBezTo>
                      <a:pt x="7173" y="4160"/>
                      <a:pt x="7173" y="4243"/>
                      <a:pt x="7200" y="4299"/>
                    </a:cubicBezTo>
                    <a:cubicBezTo>
                      <a:pt x="7259" y="4299"/>
                      <a:pt x="7315" y="4243"/>
                      <a:pt x="7372" y="4243"/>
                    </a:cubicBezTo>
                    <a:lnTo>
                      <a:pt x="7372" y="4243"/>
                    </a:lnTo>
                    <a:cubicBezTo>
                      <a:pt x="7372" y="4385"/>
                      <a:pt x="7514" y="4456"/>
                      <a:pt x="7612" y="4512"/>
                    </a:cubicBezTo>
                    <a:cubicBezTo>
                      <a:pt x="7796" y="4640"/>
                      <a:pt x="7612" y="4696"/>
                      <a:pt x="7612" y="4839"/>
                    </a:cubicBezTo>
                    <a:cubicBezTo>
                      <a:pt x="7612" y="4981"/>
                      <a:pt x="7683" y="5093"/>
                      <a:pt x="7639" y="5233"/>
                    </a:cubicBezTo>
                    <a:cubicBezTo>
                      <a:pt x="7626" y="5304"/>
                      <a:pt x="7626" y="5390"/>
                      <a:pt x="7653" y="5461"/>
                    </a:cubicBezTo>
                    <a:cubicBezTo>
                      <a:pt x="7668" y="5488"/>
                      <a:pt x="7739" y="5517"/>
                      <a:pt x="7725" y="5559"/>
                    </a:cubicBezTo>
                    <a:cubicBezTo>
                      <a:pt x="7668" y="5687"/>
                      <a:pt x="7754" y="5660"/>
                      <a:pt x="7781" y="5758"/>
                    </a:cubicBezTo>
                    <a:cubicBezTo>
                      <a:pt x="7810" y="5856"/>
                      <a:pt x="7810" y="5927"/>
                      <a:pt x="7852" y="6040"/>
                    </a:cubicBezTo>
                    <a:cubicBezTo>
                      <a:pt x="7881" y="6152"/>
                      <a:pt x="7979" y="6339"/>
                      <a:pt x="8021" y="6437"/>
                    </a:cubicBezTo>
                    <a:cubicBezTo>
                      <a:pt x="8051" y="6493"/>
                      <a:pt x="8092" y="6522"/>
                      <a:pt x="8065" y="6591"/>
                    </a:cubicBezTo>
                    <a:cubicBezTo>
                      <a:pt x="8051" y="6647"/>
                      <a:pt x="8006" y="6647"/>
                      <a:pt x="8021" y="6719"/>
                    </a:cubicBezTo>
                    <a:cubicBezTo>
                      <a:pt x="8122" y="6748"/>
                      <a:pt x="8092" y="6748"/>
                      <a:pt x="8107" y="6846"/>
                    </a:cubicBezTo>
                    <a:cubicBezTo>
                      <a:pt x="8107" y="6890"/>
                      <a:pt x="8178" y="6947"/>
                      <a:pt x="8122" y="6988"/>
                    </a:cubicBezTo>
                    <a:cubicBezTo>
                      <a:pt x="8051" y="7059"/>
                      <a:pt x="7923" y="6988"/>
                      <a:pt x="7852" y="7059"/>
                    </a:cubicBezTo>
                    <a:cubicBezTo>
                      <a:pt x="7810" y="7101"/>
                      <a:pt x="7810" y="7145"/>
                      <a:pt x="7739" y="7157"/>
                    </a:cubicBezTo>
                    <a:cubicBezTo>
                      <a:pt x="7710" y="7157"/>
                      <a:pt x="7612" y="7172"/>
                      <a:pt x="7626" y="7214"/>
                    </a:cubicBezTo>
                    <a:cubicBezTo>
                      <a:pt x="7698" y="7270"/>
                      <a:pt x="7725" y="7326"/>
                      <a:pt x="7810" y="7356"/>
                    </a:cubicBezTo>
                    <a:cubicBezTo>
                      <a:pt x="7994" y="7412"/>
                      <a:pt x="7781" y="7454"/>
                      <a:pt x="7698" y="7483"/>
                    </a:cubicBezTo>
                    <a:cubicBezTo>
                      <a:pt x="7582" y="7525"/>
                      <a:pt x="7541" y="7442"/>
                      <a:pt x="7514" y="7596"/>
                    </a:cubicBezTo>
                    <a:cubicBezTo>
                      <a:pt x="7499" y="7682"/>
                      <a:pt x="7470" y="7697"/>
                      <a:pt x="7428" y="7753"/>
                    </a:cubicBezTo>
                    <a:cubicBezTo>
                      <a:pt x="7372" y="7809"/>
                      <a:pt x="7413" y="7964"/>
                      <a:pt x="7470" y="7993"/>
                    </a:cubicBezTo>
                    <a:cubicBezTo>
                      <a:pt x="7526" y="8035"/>
                      <a:pt x="7372" y="8177"/>
                      <a:pt x="7470" y="8219"/>
                    </a:cubicBezTo>
                    <a:cubicBezTo>
                      <a:pt x="7470" y="8263"/>
                      <a:pt x="7443" y="8290"/>
                      <a:pt x="7484" y="8331"/>
                    </a:cubicBezTo>
                    <a:cubicBezTo>
                      <a:pt x="7526" y="8361"/>
                      <a:pt x="7541" y="8432"/>
                      <a:pt x="7499" y="8474"/>
                    </a:cubicBezTo>
                    <a:cubicBezTo>
                      <a:pt x="7413" y="8503"/>
                      <a:pt x="7413" y="8503"/>
                      <a:pt x="7413" y="8503"/>
                    </a:cubicBezTo>
                    <a:lnTo>
                      <a:pt x="7413" y="8503"/>
                    </a:lnTo>
                    <a:cubicBezTo>
                      <a:pt x="7342" y="8417"/>
                      <a:pt x="7342" y="8417"/>
                      <a:pt x="7342" y="8417"/>
                    </a:cubicBezTo>
                    <a:cubicBezTo>
                      <a:pt x="7315" y="8319"/>
                      <a:pt x="7244" y="8331"/>
                      <a:pt x="7200" y="8263"/>
                    </a:cubicBezTo>
                    <a:cubicBezTo>
                      <a:pt x="7188" y="8233"/>
                      <a:pt x="7188" y="8192"/>
                      <a:pt x="7158" y="8177"/>
                    </a:cubicBezTo>
                    <a:cubicBezTo>
                      <a:pt x="7131" y="8162"/>
                      <a:pt x="7087" y="8148"/>
                      <a:pt x="7045" y="8148"/>
                    </a:cubicBezTo>
                    <a:cubicBezTo>
                      <a:pt x="6960" y="8148"/>
                      <a:pt x="6960" y="8121"/>
                      <a:pt x="6891" y="8091"/>
                    </a:cubicBezTo>
                    <a:cubicBezTo>
                      <a:pt x="6820" y="8077"/>
                      <a:pt x="6693" y="8148"/>
                      <a:pt x="6636" y="8106"/>
                    </a:cubicBezTo>
                    <a:cubicBezTo>
                      <a:pt x="6580" y="8077"/>
                      <a:pt x="6580" y="8020"/>
                      <a:pt x="6521" y="7993"/>
                    </a:cubicBezTo>
                    <a:cubicBezTo>
                      <a:pt x="6281" y="7795"/>
                      <a:pt x="6281" y="7795"/>
                      <a:pt x="6281" y="7795"/>
                    </a:cubicBezTo>
                    <a:cubicBezTo>
                      <a:pt x="6168" y="7709"/>
                      <a:pt x="6325" y="7554"/>
                      <a:pt x="6183" y="7581"/>
                    </a:cubicBezTo>
                    <a:cubicBezTo>
                      <a:pt x="5913" y="7652"/>
                      <a:pt x="5673" y="7569"/>
                      <a:pt x="5460" y="7442"/>
                    </a:cubicBezTo>
                    <a:cubicBezTo>
                      <a:pt x="5376" y="7385"/>
                      <a:pt x="5290" y="7483"/>
                      <a:pt x="5219" y="7483"/>
                    </a:cubicBezTo>
                    <a:cubicBezTo>
                      <a:pt x="5050" y="7483"/>
                      <a:pt x="4839" y="7525"/>
                      <a:pt x="4697" y="7442"/>
                    </a:cubicBezTo>
                    <a:cubicBezTo>
                      <a:pt x="4626" y="7398"/>
                      <a:pt x="4472" y="7398"/>
                      <a:pt x="4386" y="7385"/>
                    </a:cubicBezTo>
                    <a:cubicBezTo>
                      <a:pt x="4244" y="7371"/>
                      <a:pt x="4033" y="7454"/>
                      <a:pt x="3918" y="7398"/>
                    </a:cubicBezTo>
                    <a:cubicBezTo>
                      <a:pt x="3778" y="7314"/>
                      <a:pt x="3734" y="7285"/>
                      <a:pt x="3594" y="7300"/>
                    </a:cubicBezTo>
                    <a:cubicBezTo>
                      <a:pt x="3508" y="7300"/>
                      <a:pt x="3467" y="7314"/>
                      <a:pt x="3396" y="7326"/>
                    </a:cubicBezTo>
                    <a:cubicBezTo>
                      <a:pt x="3366" y="7442"/>
                      <a:pt x="3212" y="7398"/>
                      <a:pt x="3141" y="7398"/>
                    </a:cubicBezTo>
                    <a:cubicBezTo>
                      <a:pt x="3141" y="7398"/>
                      <a:pt x="3069" y="7385"/>
                      <a:pt x="3084" y="7398"/>
                    </a:cubicBezTo>
                    <a:cubicBezTo>
                      <a:pt x="2998" y="7454"/>
                      <a:pt x="3013" y="7427"/>
                      <a:pt x="2915" y="7454"/>
                    </a:cubicBezTo>
                    <a:cubicBezTo>
                      <a:pt x="2829" y="7483"/>
                      <a:pt x="2844" y="7398"/>
                      <a:pt x="2788" y="7385"/>
                    </a:cubicBezTo>
                    <a:cubicBezTo>
                      <a:pt x="2731" y="7371"/>
                      <a:pt x="2432" y="7412"/>
                      <a:pt x="2405" y="7356"/>
                    </a:cubicBezTo>
                    <a:cubicBezTo>
                      <a:pt x="2405" y="7341"/>
                      <a:pt x="2405" y="7341"/>
                      <a:pt x="2405" y="7341"/>
                    </a:cubicBezTo>
                    <a:cubicBezTo>
                      <a:pt x="2376" y="7270"/>
                      <a:pt x="2305" y="7356"/>
                      <a:pt x="2263" y="7412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28575" cap="flat" cmpd="sng">
                <a:solidFill>
                  <a:schemeClr val="bg1"/>
                </a:solidFill>
                <a:bevel/>
                <a:headEnd/>
                <a:tailEnd/>
              </a:ln>
              <a:effectLst/>
              <a:extLst/>
            </p:spPr>
            <p:txBody>
              <a:bodyPr wrap="none" lIns="45720" tIns="22860" rIns="45720" bIns="22860" anchor="ctr"/>
              <a:lstStyle/>
              <a:p>
                <a:endParaRPr lang="en-US" sz="1400" dirty="0">
                  <a:latin typeface="Lato Light" charset="0"/>
                </a:endParaRPr>
              </a:p>
            </p:txBody>
          </p:sp>
        </p:grpSp>
        <p:sp>
          <p:nvSpPr>
            <p:cNvPr id="14" name="Прямоугольник 13"/>
            <p:cNvSpPr/>
            <p:nvPr/>
          </p:nvSpPr>
          <p:spPr>
            <a:xfrm>
              <a:off x="6040810" y="1936278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204,1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394063" y="3187530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118</a:t>
              </a: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,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6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6989838" y="2185327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268,2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689795" y="1411546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291,8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8415509" y="939523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289,7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8546680" y="1333589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355,4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416994" y="1448507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119,6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849697" y="2195580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216,0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7709338" y="3004320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393</a:t>
              </a: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,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9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8395949" y="3116922"/>
              <a:ext cx="472348" cy="2474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975,8</a:t>
              </a:r>
              <a:endParaRPr lang="ru-RU" sz="800" b="1" dirty="0">
                <a:solidFill>
                  <a:schemeClr val="bg1"/>
                </a:solidFill>
              </a:endParaRP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8853565" y="3182082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4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00</a:t>
              </a: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,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9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8328125" y="3619568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1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87</a:t>
              </a:r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,</a:t>
              </a:r>
              <a:r>
                <a:rPr lang="en-US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0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6214028" y="2480655"/>
              <a:ext cx="535983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155,0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8531761" y="1590734"/>
              <a:ext cx="460685" cy="28284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r>
                <a:rPr lang="ru-RU" sz="1000" b="1" dirty="0" smtClean="0">
                  <a:solidFill>
                    <a:schemeClr val="bg1"/>
                  </a:solidFill>
                  <a:latin typeface="Arial" panose="020B0604020202020204" pitchFamily="34" charset="0"/>
                </a:rPr>
                <a:t>71,6</a:t>
              </a:r>
              <a:endParaRPr lang="ru-RU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4" name="Овал 43"/>
          <p:cNvSpPr/>
          <p:nvPr/>
        </p:nvSpPr>
        <p:spPr>
          <a:xfrm flipH="1">
            <a:off x="3288040" y="2814107"/>
            <a:ext cx="126000" cy="126000"/>
          </a:xfrm>
          <a:prstGeom prst="ellipse">
            <a:avLst/>
          </a:prstGeom>
          <a:solidFill>
            <a:schemeClr val="bg2">
              <a:lumMod val="5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 flipH="1">
            <a:off x="4026810" y="4262817"/>
            <a:ext cx="126000" cy="126000"/>
          </a:xfrm>
          <a:prstGeom prst="ellipse">
            <a:avLst/>
          </a:prstGeom>
          <a:solidFill>
            <a:schemeClr val="bg2">
              <a:lumMod val="50000"/>
            </a:schemeClr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Овал 45"/>
          <p:cNvSpPr/>
          <p:nvPr/>
        </p:nvSpPr>
        <p:spPr>
          <a:xfrm flipH="1">
            <a:off x="3082528" y="4394308"/>
            <a:ext cx="100807" cy="97561"/>
          </a:xfrm>
          <a:prstGeom prst="ellipse">
            <a:avLst/>
          </a:prstGeom>
          <a:solidFill>
            <a:schemeClr val="accent5"/>
          </a:solidFill>
          <a:ln w="222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Полилиния 46"/>
          <p:cNvSpPr/>
          <p:nvPr/>
        </p:nvSpPr>
        <p:spPr>
          <a:xfrm>
            <a:off x="2850685" y="3117316"/>
            <a:ext cx="690562" cy="756000"/>
          </a:xfrm>
          <a:custGeom>
            <a:avLst/>
            <a:gdLst>
              <a:gd name="connsiteX0" fmla="*/ 0 w 690562"/>
              <a:gd name="connsiteY0" fmla="*/ 0 h 757238"/>
              <a:gd name="connsiteX1" fmla="*/ 4762 w 690562"/>
              <a:gd name="connsiteY1" fmla="*/ 28575 h 757238"/>
              <a:gd name="connsiteX2" fmla="*/ 19050 w 690562"/>
              <a:gd name="connsiteY2" fmla="*/ 33338 h 757238"/>
              <a:gd name="connsiteX3" fmla="*/ 23812 w 690562"/>
              <a:gd name="connsiteY3" fmla="*/ 109538 h 757238"/>
              <a:gd name="connsiteX4" fmla="*/ 28575 w 690562"/>
              <a:gd name="connsiteY4" fmla="*/ 133350 h 757238"/>
              <a:gd name="connsiteX5" fmla="*/ 38100 w 690562"/>
              <a:gd name="connsiteY5" fmla="*/ 161925 h 757238"/>
              <a:gd name="connsiteX6" fmla="*/ 57150 w 690562"/>
              <a:gd name="connsiteY6" fmla="*/ 171450 h 757238"/>
              <a:gd name="connsiteX7" fmla="*/ 66675 w 690562"/>
              <a:gd name="connsiteY7" fmla="*/ 185738 h 757238"/>
              <a:gd name="connsiteX8" fmla="*/ 95250 w 690562"/>
              <a:gd name="connsiteY8" fmla="*/ 195263 h 757238"/>
              <a:gd name="connsiteX9" fmla="*/ 128587 w 690562"/>
              <a:gd name="connsiteY9" fmla="*/ 233363 h 757238"/>
              <a:gd name="connsiteX10" fmla="*/ 157162 w 690562"/>
              <a:gd name="connsiteY10" fmla="*/ 257175 h 757238"/>
              <a:gd name="connsiteX11" fmla="*/ 185737 w 690562"/>
              <a:gd name="connsiteY11" fmla="*/ 266700 h 757238"/>
              <a:gd name="connsiteX12" fmla="*/ 219075 w 690562"/>
              <a:gd name="connsiteY12" fmla="*/ 285750 h 757238"/>
              <a:gd name="connsiteX13" fmla="*/ 304800 w 690562"/>
              <a:gd name="connsiteY13" fmla="*/ 276225 h 757238"/>
              <a:gd name="connsiteX14" fmla="*/ 323850 w 690562"/>
              <a:gd name="connsiteY14" fmla="*/ 271463 h 757238"/>
              <a:gd name="connsiteX15" fmla="*/ 333375 w 690562"/>
              <a:gd name="connsiteY15" fmla="*/ 252413 h 757238"/>
              <a:gd name="connsiteX16" fmla="*/ 338137 w 690562"/>
              <a:gd name="connsiteY16" fmla="*/ 238125 h 757238"/>
              <a:gd name="connsiteX17" fmla="*/ 376237 w 690562"/>
              <a:gd name="connsiteY17" fmla="*/ 223838 h 757238"/>
              <a:gd name="connsiteX18" fmla="*/ 404812 w 690562"/>
              <a:gd name="connsiteY18" fmla="*/ 204788 h 757238"/>
              <a:gd name="connsiteX19" fmla="*/ 433387 w 690562"/>
              <a:gd name="connsiteY19" fmla="*/ 195263 h 757238"/>
              <a:gd name="connsiteX20" fmla="*/ 447675 w 690562"/>
              <a:gd name="connsiteY20" fmla="*/ 176213 h 757238"/>
              <a:gd name="connsiteX21" fmla="*/ 457200 w 690562"/>
              <a:gd name="connsiteY21" fmla="*/ 114300 h 757238"/>
              <a:gd name="connsiteX22" fmla="*/ 495300 w 690562"/>
              <a:gd name="connsiteY22" fmla="*/ 128588 h 757238"/>
              <a:gd name="connsiteX23" fmla="*/ 500062 w 690562"/>
              <a:gd name="connsiteY23" fmla="*/ 142875 h 757238"/>
              <a:gd name="connsiteX24" fmla="*/ 523875 w 690562"/>
              <a:gd name="connsiteY24" fmla="*/ 147638 h 757238"/>
              <a:gd name="connsiteX25" fmla="*/ 538162 w 690562"/>
              <a:gd name="connsiteY25" fmla="*/ 161925 h 757238"/>
              <a:gd name="connsiteX26" fmla="*/ 552450 w 690562"/>
              <a:gd name="connsiteY26" fmla="*/ 166688 h 757238"/>
              <a:gd name="connsiteX27" fmla="*/ 557212 w 690562"/>
              <a:gd name="connsiteY27" fmla="*/ 185738 h 757238"/>
              <a:gd name="connsiteX28" fmla="*/ 561975 w 690562"/>
              <a:gd name="connsiteY28" fmla="*/ 200025 h 757238"/>
              <a:gd name="connsiteX29" fmla="*/ 581025 w 690562"/>
              <a:gd name="connsiteY29" fmla="*/ 204788 h 757238"/>
              <a:gd name="connsiteX30" fmla="*/ 595312 w 690562"/>
              <a:gd name="connsiteY30" fmla="*/ 209550 h 757238"/>
              <a:gd name="connsiteX31" fmla="*/ 609600 w 690562"/>
              <a:gd name="connsiteY31" fmla="*/ 219075 h 757238"/>
              <a:gd name="connsiteX32" fmla="*/ 628650 w 690562"/>
              <a:gd name="connsiteY32" fmla="*/ 223838 h 757238"/>
              <a:gd name="connsiteX33" fmla="*/ 642937 w 690562"/>
              <a:gd name="connsiteY33" fmla="*/ 228600 h 757238"/>
              <a:gd name="connsiteX34" fmla="*/ 671512 w 690562"/>
              <a:gd name="connsiteY34" fmla="*/ 247650 h 757238"/>
              <a:gd name="connsiteX35" fmla="*/ 681037 w 690562"/>
              <a:gd name="connsiteY35" fmla="*/ 280988 h 757238"/>
              <a:gd name="connsiteX36" fmla="*/ 690562 w 690562"/>
              <a:gd name="connsiteY36" fmla="*/ 314325 h 757238"/>
              <a:gd name="connsiteX37" fmla="*/ 676275 w 690562"/>
              <a:gd name="connsiteY37" fmla="*/ 342900 h 757238"/>
              <a:gd name="connsiteX38" fmla="*/ 661987 w 690562"/>
              <a:gd name="connsiteY38" fmla="*/ 347663 h 757238"/>
              <a:gd name="connsiteX39" fmla="*/ 652462 w 690562"/>
              <a:gd name="connsiteY39" fmla="*/ 361950 h 757238"/>
              <a:gd name="connsiteX40" fmla="*/ 642937 w 690562"/>
              <a:gd name="connsiteY40" fmla="*/ 390525 h 757238"/>
              <a:gd name="connsiteX41" fmla="*/ 623887 w 690562"/>
              <a:gd name="connsiteY41" fmla="*/ 419100 h 757238"/>
              <a:gd name="connsiteX42" fmla="*/ 614362 w 690562"/>
              <a:gd name="connsiteY42" fmla="*/ 452438 h 757238"/>
              <a:gd name="connsiteX43" fmla="*/ 628650 w 690562"/>
              <a:gd name="connsiteY43" fmla="*/ 504825 h 757238"/>
              <a:gd name="connsiteX44" fmla="*/ 638175 w 690562"/>
              <a:gd name="connsiteY44" fmla="*/ 519113 h 757238"/>
              <a:gd name="connsiteX45" fmla="*/ 633412 w 690562"/>
              <a:gd name="connsiteY45" fmla="*/ 533400 h 757238"/>
              <a:gd name="connsiteX46" fmla="*/ 547687 w 690562"/>
              <a:gd name="connsiteY46" fmla="*/ 557213 h 757238"/>
              <a:gd name="connsiteX47" fmla="*/ 571500 w 690562"/>
              <a:gd name="connsiteY47" fmla="*/ 600075 h 757238"/>
              <a:gd name="connsiteX48" fmla="*/ 581025 w 690562"/>
              <a:gd name="connsiteY48" fmla="*/ 614363 h 757238"/>
              <a:gd name="connsiteX49" fmla="*/ 585787 w 690562"/>
              <a:gd name="connsiteY49" fmla="*/ 671513 h 757238"/>
              <a:gd name="connsiteX50" fmla="*/ 595312 w 690562"/>
              <a:gd name="connsiteY50" fmla="*/ 704850 h 757238"/>
              <a:gd name="connsiteX51" fmla="*/ 600075 w 690562"/>
              <a:gd name="connsiteY51" fmla="*/ 719138 h 757238"/>
              <a:gd name="connsiteX52" fmla="*/ 600075 w 690562"/>
              <a:gd name="connsiteY52" fmla="*/ 757238 h 757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</a:cxnLst>
            <a:rect l="l" t="t" r="r" b="b"/>
            <a:pathLst>
              <a:path w="690562" h="757238">
                <a:moveTo>
                  <a:pt x="0" y="0"/>
                </a:moveTo>
                <a:cubicBezTo>
                  <a:pt x="1587" y="9525"/>
                  <a:pt x="-29" y="20191"/>
                  <a:pt x="4762" y="28575"/>
                </a:cubicBezTo>
                <a:cubicBezTo>
                  <a:pt x="7253" y="32934"/>
                  <a:pt x="17900" y="28451"/>
                  <a:pt x="19050" y="33338"/>
                </a:cubicBezTo>
                <a:cubicBezTo>
                  <a:pt x="24879" y="58111"/>
                  <a:pt x="21399" y="84203"/>
                  <a:pt x="23812" y="109538"/>
                </a:cubicBezTo>
                <a:cubicBezTo>
                  <a:pt x="24579" y="117596"/>
                  <a:pt x="26445" y="125541"/>
                  <a:pt x="28575" y="133350"/>
                </a:cubicBezTo>
                <a:cubicBezTo>
                  <a:pt x="31217" y="143036"/>
                  <a:pt x="29120" y="157435"/>
                  <a:pt x="38100" y="161925"/>
                </a:cubicBezTo>
                <a:lnTo>
                  <a:pt x="57150" y="171450"/>
                </a:lnTo>
                <a:cubicBezTo>
                  <a:pt x="60325" y="176213"/>
                  <a:pt x="61821" y="182704"/>
                  <a:pt x="66675" y="185738"/>
                </a:cubicBezTo>
                <a:cubicBezTo>
                  <a:pt x="75189" y="191059"/>
                  <a:pt x="95250" y="195263"/>
                  <a:pt x="95250" y="195263"/>
                </a:cubicBezTo>
                <a:cubicBezTo>
                  <a:pt x="129378" y="246455"/>
                  <a:pt x="98824" y="208561"/>
                  <a:pt x="128587" y="233363"/>
                </a:cubicBezTo>
                <a:cubicBezTo>
                  <a:pt x="141402" y="244042"/>
                  <a:pt x="141963" y="250420"/>
                  <a:pt x="157162" y="257175"/>
                </a:cubicBezTo>
                <a:cubicBezTo>
                  <a:pt x="166337" y="261253"/>
                  <a:pt x="176757" y="262210"/>
                  <a:pt x="185737" y="266700"/>
                </a:cubicBezTo>
                <a:cubicBezTo>
                  <a:pt x="209907" y="278785"/>
                  <a:pt x="198880" y="272287"/>
                  <a:pt x="219075" y="285750"/>
                </a:cubicBezTo>
                <a:cubicBezTo>
                  <a:pt x="258724" y="272535"/>
                  <a:pt x="215417" y="285634"/>
                  <a:pt x="304800" y="276225"/>
                </a:cubicBezTo>
                <a:cubicBezTo>
                  <a:pt x="311309" y="275540"/>
                  <a:pt x="317500" y="273050"/>
                  <a:pt x="323850" y="271463"/>
                </a:cubicBezTo>
                <a:cubicBezTo>
                  <a:pt x="327025" y="265113"/>
                  <a:pt x="330578" y="258939"/>
                  <a:pt x="333375" y="252413"/>
                </a:cubicBezTo>
                <a:cubicBezTo>
                  <a:pt x="335352" y="247799"/>
                  <a:pt x="334280" y="241339"/>
                  <a:pt x="338137" y="238125"/>
                </a:cubicBezTo>
                <a:cubicBezTo>
                  <a:pt x="341934" y="234961"/>
                  <a:pt x="368329" y="226474"/>
                  <a:pt x="376237" y="223838"/>
                </a:cubicBezTo>
                <a:cubicBezTo>
                  <a:pt x="385762" y="217488"/>
                  <a:pt x="393952" y="208408"/>
                  <a:pt x="404812" y="204788"/>
                </a:cubicBezTo>
                <a:lnTo>
                  <a:pt x="433387" y="195263"/>
                </a:lnTo>
                <a:cubicBezTo>
                  <a:pt x="438150" y="188913"/>
                  <a:pt x="444451" y="183466"/>
                  <a:pt x="447675" y="176213"/>
                </a:cubicBezTo>
                <a:cubicBezTo>
                  <a:pt x="451468" y="167679"/>
                  <a:pt x="456934" y="116430"/>
                  <a:pt x="457200" y="114300"/>
                </a:cubicBezTo>
                <a:cubicBezTo>
                  <a:pt x="470107" y="116882"/>
                  <a:pt x="485957" y="116909"/>
                  <a:pt x="495300" y="128588"/>
                </a:cubicBezTo>
                <a:cubicBezTo>
                  <a:pt x="498436" y="132508"/>
                  <a:pt x="495885" y="140090"/>
                  <a:pt x="500062" y="142875"/>
                </a:cubicBezTo>
                <a:cubicBezTo>
                  <a:pt x="506797" y="147365"/>
                  <a:pt x="515937" y="146050"/>
                  <a:pt x="523875" y="147638"/>
                </a:cubicBezTo>
                <a:cubicBezTo>
                  <a:pt x="528637" y="152400"/>
                  <a:pt x="532558" y="158189"/>
                  <a:pt x="538162" y="161925"/>
                </a:cubicBezTo>
                <a:cubicBezTo>
                  <a:pt x="542339" y="164710"/>
                  <a:pt x="549314" y="162768"/>
                  <a:pt x="552450" y="166688"/>
                </a:cubicBezTo>
                <a:cubicBezTo>
                  <a:pt x="556539" y="171799"/>
                  <a:pt x="555414" y="179444"/>
                  <a:pt x="557212" y="185738"/>
                </a:cubicBezTo>
                <a:cubicBezTo>
                  <a:pt x="558591" y="190565"/>
                  <a:pt x="558055" y="196889"/>
                  <a:pt x="561975" y="200025"/>
                </a:cubicBezTo>
                <a:cubicBezTo>
                  <a:pt x="567086" y="204114"/>
                  <a:pt x="574731" y="202990"/>
                  <a:pt x="581025" y="204788"/>
                </a:cubicBezTo>
                <a:cubicBezTo>
                  <a:pt x="585852" y="206167"/>
                  <a:pt x="590550" y="207963"/>
                  <a:pt x="595312" y="209550"/>
                </a:cubicBezTo>
                <a:cubicBezTo>
                  <a:pt x="600075" y="212725"/>
                  <a:pt x="604339" y="216820"/>
                  <a:pt x="609600" y="219075"/>
                </a:cubicBezTo>
                <a:cubicBezTo>
                  <a:pt x="615616" y="221653"/>
                  <a:pt x="622356" y="222040"/>
                  <a:pt x="628650" y="223838"/>
                </a:cubicBezTo>
                <a:cubicBezTo>
                  <a:pt x="633477" y="225217"/>
                  <a:pt x="638175" y="227013"/>
                  <a:pt x="642937" y="228600"/>
                </a:cubicBezTo>
                <a:cubicBezTo>
                  <a:pt x="652462" y="234950"/>
                  <a:pt x="668735" y="236544"/>
                  <a:pt x="671512" y="247650"/>
                </a:cubicBezTo>
                <a:cubicBezTo>
                  <a:pt x="686402" y="307203"/>
                  <a:pt x="667372" y="233161"/>
                  <a:pt x="681037" y="280988"/>
                </a:cubicBezTo>
                <a:cubicBezTo>
                  <a:pt x="692994" y="322840"/>
                  <a:pt x="679146" y="280076"/>
                  <a:pt x="690562" y="314325"/>
                </a:cubicBezTo>
                <a:cubicBezTo>
                  <a:pt x="687425" y="323738"/>
                  <a:pt x="684669" y="336185"/>
                  <a:pt x="676275" y="342900"/>
                </a:cubicBezTo>
                <a:cubicBezTo>
                  <a:pt x="672355" y="346036"/>
                  <a:pt x="666750" y="346075"/>
                  <a:pt x="661987" y="347663"/>
                </a:cubicBezTo>
                <a:cubicBezTo>
                  <a:pt x="658812" y="352425"/>
                  <a:pt x="654787" y="356720"/>
                  <a:pt x="652462" y="361950"/>
                </a:cubicBezTo>
                <a:cubicBezTo>
                  <a:pt x="648384" y="371125"/>
                  <a:pt x="648506" y="382171"/>
                  <a:pt x="642937" y="390525"/>
                </a:cubicBezTo>
                <a:lnTo>
                  <a:pt x="623887" y="419100"/>
                </a:lnTo>
                <a:cubicBezTo>
                  <a:pt x="621642" y="425835"/>
                  <a:pt x="614362" y="446462"/>
                  <a:pt x="614362" y="452438"/>
                </a:cubicBezTo>
                <a:cubicBezTo>
                  <a:pt x="614362" y="469704"/>
                  <a:pt x="621000" y="489524"/>
                  <a:pt x="628650" y="504825"/>
                </a:cubicBezTo>
                <a:cubicBezTo>
                  <a:pt x="631210" y="509945"/>
                  <a:pt x="635000" y="514350"/>
                  <a:pt x="638175" y="519113"/>
                </a:cubicBezTo>
                <a:cubicBezTo>
                  <a:pt x="636587" y="523875"/>
                  <a:pt x="636962" y="529850"/>
                  <a:pt x="633412" y="533400"/>
                </a:cubicBezTo>
                <a:cubicBezTo>
                  <a:pt x="605105" y="561706"/>
                  <a:pt x="589237" y="553750"/>
                  <a:pt x="547687" y="557213"/>
                </a:cubicBezTo>
                <a:cubicBezTo>
                  <a:pt x="556071" y="582360"/>
                  <a:pt x="549665" y="567322"/>
                  <a:pt x="571500" y="600075"/>
                </a:cubicBezTo>
                <a:lnTo>
                  <a:pt x="581025" y="614363"/>
                </a:lnTo>
                <a:cubicBezTo>
                  <a:pt x="582612" y="633413"/>
                  <a:pt x="582806" y="652631"/>
                  <a:pt x="585787" y="671513"/>
                </a:cubicBezTo>
                <a:cubicBezTo>
                  <a:pt x="587589" y="682929"/>
                  <a:pt x="591991" y="693780"/>
                  <a:pt x="595312" y="704850"/>
                </a:cubicBezTo>
                <a:cubicBezTo>
                  <a:pt x="596755" y="709659"/>
                  <a:pt x="599620" y="714138"/>
                  <a:pt x="600075" y="719138"/>
                </a:cubicBezTo>
                <a:cubicBezTo>
                  <a:pt x="601225" y="731786"/>
                  <a:pt x="600075" y="744538"/>
                  <a:pt x="600075" y="757238"/>
                </a:cubicBezTo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олилиния 47"/>
          <p:cNvSpPr/>
          <p:nvPr/>
        </p:nvSpPr>
        <p:spPr>
          <a:xfrm>
            <a:off x="4588997" y="2988729"/>
            <a:ext cx="266700" cy="666788"/>
          </a:xfrm>
          <a:custGeom>
            <a:avLst/>
            <a:gdLst>
              <a:gd name="connsiteX0" fmla="*/ 42863 w 266700"/>
              <a:gd name="connsiteY0" fmla="*/ 0 h 666788"/>
              <a:gd name="connsiteX1" fmla="*/ 57150 w 266700"/>
              <a:gd name="connsiteY1" fmla="*/ 66675 h 666788"/>
              <a:gd name="connsiteX2" fmla="*/ 61913 w 266700"/>
              <a:gd name="connsiteY2" fmla="*/ 80962 h 666788"/>
              <a:gd name="connsiteX3" fmla="*/ 66675 w 266700"/>
              <a:gd name="connsiteY3" fmla="*/ 95250 h 666788"/>
              <a:gd name="connsiteX4" fmla="*/ 52388 w 266700"/>
              <a:gd name="connsiteY4" fmla="*/ 100012 h 666788"/>
              <a:gd name="connsiteX5" fmla="*/ 28575 w 266700"/>
              <a:gd name="connsiteY5" fmla="*/ 90487 h 666788"/>
              <a:gd name="connsiteX6" fmla="*/ 14288 w 266700"/>
              <a:gd name="connsiteY6" fmla="*/ 85725 h 666788"/>
              <a:gd name="connsiteX7" fmla="*/ 0 w 266700"/>
              <a:gd name="connsiteY7" fmla="*/ 114300 h 666788"/>
              <a:gd name="connsiteX8" fmla="*/ 4763 w 266700"/>
              <a:gd name="connsiteY8" fmla="*/ 133350 h 666788"/>
              <a:gd name="connsiteX9" fmla="*/ 19050 w 266700"/>
              <a:gd name="connsiteY9" fmla="*/ 142875 h 666788"/>
              <a:gd name="connsiteX10" fmla="*/ 52388 w 266700"/>
              <a:gd name="connsiteY10" fmla="*/ 157162 h 666788"/>
              <a:gd name="connsiteX11" fmla="*/ 57150 w 266700"/>
              <a:gd name="connsiteY11" fmla="*/ 171450 h 666788"/>
              <a:gd name="connsiteX12" fmla="*/ 76200 w 266700"/>
              <a:gd name="connsiteY12" fmla="*/ 180975 h 666788"/>
              <a:gd name="connsiteX13" fmla="*/ 90488 w 266700"/>
              <a:gd name="connsiteY13" fmla="*/ 190500 h 666788"/>
              <a:gd name="connsiteX14" fmla="*/ 109538 w 266700"/>
              <a:gd name="connsiteY14" fmla="*/ 219075 h 666788"/>
              <a:gd name="connsiteX15" fmla="*/ 114300 w 266700"/>
              <a:gd name="connsiteY15" fmla="*/ 233362 h 666788"/>
              <a:gd name="connsiteX16" fmla="*/ 128588 w 266700"/>
              <a:gd name="connsiteY16" fmla="*/ 266700 h 666788"/>
              <a:gd name="connsiteX17" fmla="*/ 147638 w 266700"/>
              <a:gd name="connsiteY17" fmla="*/ 276225 h 666788"/>
              <a:gd name="connsiteX18" fmla="*/ 157163 w 266700"/>
              <a:gd name="connsiteY18" fmla="*/ 290512 h 666788"/>
              <a:gd name="connsiteX19" fmla="*/ 185738 w 266700"/>
              <a:gd name="connsiteY19" fmla="*/ 309562 h 666788"/>
              <a:gd name="connsiteX20" fmla="*/ 204788 w 266700"/>
              <a:gd name="connsiteY20" fmla="*/ 333375 h 666788"/>
              <a:gd name="connsiteX21" fmla="*/ 228600 w 266700"/>
              <a:gd name="connsiteY21" fmla="*/ 352425 h 666788"/>
              <a:gd name="connsiteX22" fmla="*/ 238125 w 266700"/>
              <a:gd name="connsiteY22" fmla="*/ 366712 h 666788"/>
              <a:gd name="connsiteX23" fmla="*/ 266700 w 266700"/>
              <a:gd name="connsiteY23" fmla="*/ 376237 h 666788"/>
              <a:gd name="connsiteX24" fmla="*/ 257175 w 266700"/>
              <a:gd name="connsiteY24" fmla="*/ 428625 h 666788"/>
              <a:gd name="connsiteX25" fmla="*/ 247650 w 266700"/>
              <a:gd name="connsiteY25" fmla="*/ 466725 h 666788"/>
              <a:gd name="connsiteX26" fmla="*/ 242888 w 266700"/>
              <a:gd name="connsiteY26" fmla="*/ 495300 h 666788"/>
              <a:gd name="connsiteX27" fmla="*/ 238125 w 266700"/>
              <a:gd name="connsiteY27" fmla="*/ 514350 h 666788"/>
              <a:gd name="connsiteX28" fmla="*/ 233363 w 266700"/>
              <a:gd name="connsiteY28" fmla="*/ 547687 h 666788"/>
              <a:gd name="connsiteX29" fmla="*/ 247650 w 266700"/>
              <a:gd name="connsiteY29" fmla="*/ 638175 h 666788"/>
              <a:gd name="connsiteX30" fmla="*/ 252413 w 266700"/>
              <a:gd name="connsiteY30" fmla="*/ 652462 h 666788"/>
              <a:gd name="connsiteX31" fmla="*/ 261938 w 266700"/>
              <a:gd name="connsiteY31" fmla="*/ 666750 h 6667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266700" h="666788">
                <a:moveTo>
                  <a:pt x="42863" y="0"/>
                </a:moveTo>
                <a:cubicBezTo>
                  <a:pt x="48870" y="48059"/>
                  <a:pt x="43578" y="25961"/>
                  <a:pt x="57150" y="66675"/>
                </a:cubicBezTo>
                <a:lnTo>
                  <a:pt x="61913" y="80962"/>
                </a:lnTo>
                <a:lnTo>
                  <a:pt x="66675" y="95250"/>
                </a:lnTo>
                <a:cubicBezTo>
                  <a:pt x="61913" y="96837"/>
                  <a:pt x="57369" y="100635"/>
                  <a:pt x="52388" y="100012"/>
                </a:cubicBezTo>
                <a:cubicBezTo>
                  <a:pt x="43905" y="98952"/>
                  <a:pt x="36580" y="93489"/>
                  <a:pt x="28575" y="90487"/>
                </a:cubicBezTo>
                <a:cubicBezTo>
                  <a:pt x="23875" y="88724"/>
                  <a:pt x="19050" y="87312"/>
                  <a:pt x="14288" y="85725"/>
                </a:cubicBezTo>
                <a:cubicBezTo>
                  <a:pt x="9472" y="92949"/>
                  <a:pt x="0" y="104441"/>
                  <a:pt x="0" y="114300"/>
                </a:cubicBezTo>
                <a:cubicBezTo>
                  <a:pt x="0" y="120845"/>
                  <a:pt x="1132" y="127904"/>
                  <a:pt x="4763" y="133350"/>
                </a:cubicBezTo>
                <a:cubicBezTo>
                  <a:pt x="7938" y="138112"/>
                  <a:pt x="14080" y="140035"/>
                  <a:pt x="19050" y="142875"/>
                </a:cubicBezTo>
                <a:cubicBezTo>
                  <a:pt x="35529" y="152292"/>
                  <a:pt x="36358" y="151819"/>
                  <a:pt x="52388" y="157162"/>
                </a:cubicBezTo>
                <a:cubicBezTo>
                  <a:pt x="53975" y="161925"/>
                  <a:pt x="53600" y="167900"/>
                  <a:pt x="57150" y="171450"/>
                </a:cubicBezTo>
                <a:cubicBezTo>
                  <a:pt x="62170" y="176470"/>
                  <a:pt x="70036" y="177453"/>
                  <a:pt x="76200" y="180975"/>
                </a:cubicBezTo>
                <a:cubicBezTo>
                  <a:pt x="81170" y="183815"/>
                  <a:pt x="85725" y="187325"/>
                  <a:pt x="90488" y="190500"/>
                </a:cubicBezTo>
                <a:cubicBezTo>
                  <a:pt x="101424" y="234249"/>
                  <a:pt x="85619" y="189176"/>
                  <a:pt x="109538" y="219075"/>
                </a:cubicBezTo>
                <a:cubicBezTo>
                  <a:pt x="112674" y="222995"/>
                  <a:pt x="112921" y="228535"/>
                  <a:pt x="114300" y="233362"/>
                </a:cubicBezTo>
                <a:cubicBezTo>
                  <a:pt x="117843" y="245761"/>
                  <a:pt x="117714" y="257638"/>
                  <a:pt x="128588" y="266700"/>
                </a:cubicBezTo>
                <a:cubicBezTo>
                  <a:pt x="134042" y="271245"/>
                  <a:pt x="141288" y="273050"/>
                  <a:pt x="147638" y="276225"/>
                </a:cubicBezTo>
                <a:cubicBezTo>
                  <a:pt x="150813" y="280987"/>
                  <a:pt x="152855" y="286743"/>
                  <a:pt x="157163" y="290512"/>
                </a:cubicBezTo>
                <a:cubicBezTo>
                  <a:pt x="165778" y="298050"/>
                  <a:pt x="185738" y="309562"/>
                  <a:pt x="185738" y="309562"/>
                </a:cubicBezTo>
                <a:cubicBezTo>
                  <a:pt x="195008" y="337377"/>
                  <a:pt x="183246" y="311834"/>
                  <a:pt x="204788" y="333375"/>
                </a:cubicBezTo>
                <a:cubicBezTo>
                  <a:pt x="226331" y="354917"/>
                  <a:pt x="200785" y="343152"/>
                  <a:pt x="228600" y="352425"/>
                </a:cubicBezTo>
                <a:cubicBezTo>
                  <a:pt x="231775" y="357187"/>
                  <a:pt x="233271" y="363679"/>
                  <a:pt x="238125" y="366712"/>
                </a:cubicBezTo>
                <a:cubicBezTo>
                  <a:pt x="246639" y="372033"/>
                  <a:pt x="266700" y="376237"/>
                  <a:pt x="266700" y="376237"/>
                </a:cubicBezTo>
                <a:cubicBezTo>
                  <a:pt x="258444" y="434037"/>
                  <a:pt x="266159" y="388199"/>
                  <a:pt x="257175" y="428625"/>
                </a:cubicBezTo>
                <a:cubicBezTo>
                  <a:pt x="249511" y="463111"/>
                  <a:pt x="256162" y="441191"/>
                  <a:pt x="247650" y="466725"/>
                </a:cubicBezTo>
                <a:cubicBezTo>
                  <a:pt x="246063" y="476250"/>
                  <a:pt x="244782" y="485831"/>
                  <a:pt x="242888" y="495300"/>
                </a:cubicBezTo>
                <a:cubicBezTo>
                  <a:pt x="241604" y="501718"/>
                  <a:pt x="239296" y="507910"/>
                  <a:pt x="238125" y="514350"/>
                </a:cubicBezTo>
                <a:cubicBezTo>
                  <a:pt x="236117" y="525394"/>
                  <a:pt x="234950" y="536575"/>
                  <a:pt x="233363" y="547687"/>
                </a:cubicBezTo>
                <a:cubicBezTo>
                  <a:pt x="238895" y="619605"/>
                  <a:pt x="231580" y="589966"/>
                  <a:pt x="247650" y="638175"/>
                </a:cubicBezTo>
                <a:lnTo>
                  <a:pt x="252413" y="652462"/>
                </a:lnTo>
                <a:cubicBezTo>
                  <a:pt x="257678" y="668256"/>
                  <a:pt x="252155" y="666750"/>
                  <a:pt x="261938" y="666750"/>
                </a:cubicBezTo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олилиния 48"/>
          <p:cNvSpPr/>
          <p:nvPr/>
        </p:nvSpPr>
        <p:spPr>
          <a:xfrm>
            <a:off x="3983376" y="3767398"/>
            <a:ext cx="524695" cy="452452"/>
          </a:xfrm>
          <a:custGeom>
            <a:avLst/>
            <a:gdLst>
              <a:gd name="connsiteX0" fmla="*/ 24594 w 524695"/>
              <a:gd name="connsiteY0" fmla="*/ 0 h 452452"/>
              <a:gd name="connsiteX1" fmla="*/ 15069 w 524695"/>
              <a:gd name="connsiteY1" fmla="*/ 23812 h 452452"/>
              <a:gd name="connsiteX2" fmla="*/ 782 w 524695"/>
              <a:gd name="connsiteY2" fmla="*/ 33337 h 452452"/>
              <a:gd name="connsiteX3" fmla="*/ 5544 w 524695"/>
              <a:gd name="connsiteY3" fmla="*/ 76200 h 452452"/>
              <a:gd name="connsiteX4" fmla="*/ 5544 w 524695"/>
              <a:gd name="connsiteY4" fmla="*/ 176212 h 452452"/>
              <a:gd name="connsiteX5" fmla="*/ 10307 w 524695"/>
              <a:gd name="connsiteY5" fmla="*/ 214312 h 452452"/>
              <a:gd name="connsiteX6" fmla="*/ 15069 w 524695"/>
              <a:gd name="connsiteY6" fmla="*/ 228600 h 452452"/>
              <a:gd name="connsiteX7" fmla="*/ 29357 w 524695"/>
              <a:gd name="connsiteY7" fmla="*/ 238125 h 452452"/>
              <a:gd name="connsiteX8" fmla="*/ 43644 w 524695"/>
              <a:gd name="connsiteY8" fmla="*/ 252412 h 452452"/>
              <a:gd name="connsiteX9" fmla="*/ 81744 w 524695"/>
              <a:gd name="connsiteY9" fmla="*/ 261937 h 452452"/>
              <a:gd name="connsiteX10" fmla="*/ 91269 w 524695"/>
              <a:gd name="connsiteY10" fmla="*/ 276225 h 452452"/>
              <a:gd name="connsiteX11" fmla="*/ 105557 w 524695"/>
              <a:gd name="connsiteY11" fmla="*/ 285750 h 452452"/>
              <a:gd name="connsiteX12" fmla="*/ 110319 w 524695"/>
              <a:gd name="connsiteY12" fmla="*/ 300037 h 452452"/>
              <a:gd name="connsiteX13" fmla="*/ 119844 w 524695"/>
              <a:gd name="connsiteY13" fmla="*/ 314325 h 452452"/>
              <a:gd name="connsiteX14" fmla="*/ 138894 w 524695"/>
              <a:gd name="connsiteY14" fmla="*/ 347662 h 452452"/>
              <a:gd name="connsiteX15" fmla="*/ 153182 w 524695"/>
              <a:gd name="connsiteY15" fmla="*/ 352425 h 452452"/>
              <a:gd name="connsiteX16" fmla="*/ 162707 w 524695"/>
              <a:gd name="connsiteY16" fmla="*/ 371475 h 452452"/>
              <a:gd name="connsiteX17" fmla="*/ 172232 w 524695"/>
              <a:gd name="connsiteY17" fmla="*/ 385762 h 452452"/>
              <a:gd name="connsiteX18" fmla="*/ 176994 w 524695"/>
              <a:gd name="connsiteY18" fmla="*/ 400050 h 452452"/>
              <a:gd name="connsiteX19" fmla="*/ 219857 w 524695"/>
              <a:gd name="connsiteY19" fmla="*/ 419100 h 452452"/>
              <a:gd name="connsiteX20" fmla="*/ 238907 w 524695"/>
              <a:gd name="connsiteY20" fmla="*/ 423862 h 452452"/>
              <a:gd name="connsiteX21" fmla="*/ 253194 w 524695"/>
              <a:gd name="connsiteY21" fmla="*/ 428625 h 452452"/>
              <a:gd name="connsiteX22" fmla="*/ 296057 w 524695"/>
              <a:gd name="connsiteY22" fmla="*/ 433387 h 452452"/>
              <a:gd name="connsiteX23" fmla="*/ 334157 w 524695"/>
              <a:gd name="connsiteY23" fmla="*/ 442912 h 452452"/>
              <a:gd name="connsiteX24" fmla="*/ 510369 w 524695"/>
              <a:gd name="connsiteY24" fmla="*/ 428625 h 452452"/>
              <a:gd name="connsiteX25" fmla="*/ 524657 w 524695"/>
              <a:gd name="connsiteY25" fmla="*/ 419100 h 4524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</a:cxnLst>
            <a:rect l="l" t="t" r="r" b="b"/>
            <a:pathLst>
              <a:path w="524695" h="452452">
                <a:moveTo>
                  <a:pt x="24594" y="0"/>
                </a:moveTo>
                <a:cubicBezTo>
                  <a:pt x="21419" y="7937"/>
                  <a:pt x="20038" y="16856"/>
                  <a:pt x="15069" y="23812"/>
                </a:cubicBezTo>
                <a:cubicBezTo>
                  <a:pt x="11742" y="28470"/>
                  <a:pt x="1806" y="27706"/>
                  <a:pt x="782" y="33337"/>
                </a:cubicBezTo>
                <a:cubicBezTo>
                  <a:pt x="-1790" y="47481"/>
                  <a:pt x="3957" y="61912"/>
                  <a:pt x="5544" y="76200"/>
                </a:cubicBezTo>
                <a:cubicBezTo>
                  <a:pt x="-2703" y="125690"/>
                  <a:pt x="-942" y="101628"/>
                  <a:pt x="5544" y="176212"/>
                </a:cubicBezTo>
                <a:cubicBezTo>
                  <a:pt x="6653" y="188963"/>
                  <a:pt x="8017" y="201720"/>
                  <a:pt x="10307" y="214312"/>
                </a:cubicBezTo>
                <a:cubicBezTo>
                  <a:pt x="11205" y="219251"/>
                  <a:pt x="11933" y="224680"/>
                  <a:pt x="15069" y="228600"/>
                </a:cubicBezTo>
                <a:cubicBezTo>
                  <a:pt x="18645" y="233070"/>
                  <a:pt x="24960" y="234461"/>
                  <a:pt x="29357" y="238125"/>
                </a:cubicBezTo>
                <a:cubicBezTo>
                  <a:pt x="34531" y="242437"/>
                  <a:pt x="38040" y="248676"/>
                  <a:pt x="43644" y="252412"/>
                </a:cubicBezTo>
                <a:cubicBezTo>
                  <a:pt x="49922" y="256597"/>
                  <a:pt x="78305" y="261249"/>
                  <a:pt x="81744" y="261937"/>
                </a:cubicBezTo>
                <a:cubicBezTo>
                  <a:pt x="84919" y="266700"/>
                  <a:pt x="87222" y="272178"/>
                  <a:pt x="91269" y="276225"/>
                </a:cubicBezTo>
                <a:cubicBezTo>
                  <a:pt x="95316" y="280272"/>
                  <a:pt x="101981" y="281280"/>
                  <a:pt x="105557" y="285750"/>
                </a:cubicBezTo>
                <a:cubicBezTo>
                  <a:pt x="108693" y="289670"/>
                  <a:pt x="108074" y="295547"/>
                  <a:pt x="110319" y="300037"/>
                </a:cubicBezTo>
                <a:cubicBezTo>
                  <a:pt x="112879" y="305157"/>
                  <a:pt x="117004" y="309355"/>
                  <a:pt x="119844" y="314325"/>
                </a:cubicBezTo>
                <a:cubicBezTo>
                  <a:pt x="122805" y="319506"/>
                  <a:pt x="132787" y="342776"/>
                  <a:pt x="138894" y="347662"/>
                </a:cubicBezTo>
                <a:cubicBezTo>
                  <a:pt x="142814" y="350798"/>
                  <a:pt x="148419" y="350837"/>
                  <a:pt x="153182" y="352425"/>
                </a:cubicBezTo>
                <a:cubicBezTo>
                  <a:pt x="156357" y="358775"/>
                  <a:pt x="159185" y="365311"/>
                  <a:pt x="162707" y="371475"/>
                </a:cubicBezTo>
                <a:cubicBezTo>
                  <a:pt x="165547" y="376445"/>
                  <a:pt x="169672" y="380643"/>
                  <a:pt x="172232" y="385762"/>
                </a:cubicBezTo>
                <a:cubicBezTo>
                  <a:pt x="174477" y="390252"/>
                  <a:pt x="173858" y="396130"/>
                  <a:pt x="176994" y="400050"/>
                </a:cubicBezTo>
                <a:cubicBezTo>
                  <a:pt x="184812" y="409822"/>
                  <a:pt x="211855" y="417100"/>
                  <a:pt x="219857" y="419100"/>
                </a:cubicBezTo>
                <a:cubicBezTo>
                  <a:pt x="226207" y="420687"/>
                  <a:pt x="232613" y="422064"/>
                  <a:pt x="238907" y="423862"/>
                </a:cubicBezTo>
                <a:cubicBezTo>
                  <a:pt x="243734" y="425241"/>
                  <a:pt x="248242" y="427800"/>
                  <a:pt x="253194" y="428625"/>
                </a:cubicBezTo>
                <a:cubicBezTo>
                  <a:pt x="267374" y="430988"/>
                  <a:pt x="281769" y="431800"/>
                  <a:pt x="296057" y="433387"/>
                </a:cubicBezTo>
                <a:cubicBezTo>
                  <a:pt x="313155" y="467582"/>
                  <a:pt x="294488" y="445963"/>
                  <a:pt x="334157" y="442912"/>
                </a:cubicBezTo>
                <a:cubicBezTo>
                  <a:pt x="475465" y="432042"/>
                  <a:pt x="416755" y="437135"/>
                  <a:pt x="510369" y="428625"/>
                </a:cubicBezTo>
                <a:cubicBezTo>
                  <a:pt x="526163" y="423360"/>
                  <a:pt x="524657" y="428882"/>
                  <a:pt x="524657" y="419100"/>
                </a:cubicBezTo>
              </a:path>
            </a:pathLst>
          </a:cu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4412005"/>
              </p:ext>
            </p:extLst>
          </p:nvPr>
        </p:nvGraphicFramePr>
        <p:xfrm>
          <a:off x="5520800" y="808076"/>
          <a:ext cx="3301228" cy="4335424"/>
        </p:xfrm>
        <a:graphic>
          <a:graphicData uri="http://schemas.openxmlformats.org/drawingml/2006/table">
            <a:tbl>
              <a:tblPr/>
              <a:tblGrid>
                <a:gridCol w="1510309">
                  <a:extLst>
                    <a:ext uri="{9D8B030D-6E8A-4147-A177-3AD203B41FA5}">
                      <a16:colId xmlns:a16="http://schemas.microsoft.com/office/drawing/2014/main" val="1993702185"/>
                    </a:ext>
                  </a:extLst>
                </a:gridCol>
                <a:gridCol w="596929">
                  <a:extLst>
                    <a:ext uri="{9D8B030D-6E8A-4147-A177-3AD203B41FA5}">
                      <a16:colId xmlns:a16="http://schemas.microsoft.com/office/drawing/2014/main" val="2935938879"/>
                    </a:ext>
                  </a:extLst>
                </a:gridCol>
                <a:gridCol w="596929">
                  <a:extLst>
                    <a:ext uri="{9D8B030D-6E8A-4147-A177-3AD203B41FA5}">
                      <a16:colId xmlns:a16="http://schemas.microsoft.com/office/drawing/2014/main" val="2257744521"/>
                    </a:ext>
                  </a:extLst>
                </a:gridCol>
                <a:gridCol w="597061">
                  <a:extLst>
                    <a:ext uri="{9D8B030D-6E8A-4147-A177-3AD203B41FA5}">
                      <a16:colId xmlns:a16="http://schemas.microsoft.com/office/drawing/2014/main" val="3978925844"/>
                    </a:ext>
                  </a:extLst>
                </a:gridCol>
              </a:tblGrid>
              <a:tr h="3821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 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гионов</a:t>
                      </a:r>
                      <a:endParaRPr lang="ru-RU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39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470168"/>
                  </a:ext>
                </a:extLst>
              </a:tr>
              <a:tr h="160595">
                <a:tc gridSpan="4">
                  <a:txBody>
                    <a:bodyPr/>
                    <a:lstStyle/>
                    <a:p>
                      <a:pPr marL="0" marR="0" indent="0" algn="ctr" defTabSz="70849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юджетные</a:t>
                      </a:r>
                      <a:r>
                        <a:rPr lang="ru-RU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бвенции</a:t>
                      </a:r>
                    </a:p>
                  </a:txBody>
                  <a:tcPr marL="5300" marR="5300" marT="53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0365622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marL="0" marR="0" indent="0" algn="l" defTabSz="70849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5300" marR="5300" marT="53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937,5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181,0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680,9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6202652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кмолин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5,4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6,3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5,3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333121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ктюбинская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8,2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9,0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2,6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631890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лматин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5,8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1,6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,1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836091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етісу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0,9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56,2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6,7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320598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сточно-Казахстан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9,9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1,0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5,6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433816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бай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6,0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29,9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5,8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9995248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амбыл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0,9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18,9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56,5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0793168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падно-Казахстан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4,1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1,3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7,1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8662973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рагандинская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7,8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6,2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39,6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8414407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marL="0" algn="l" defTabSz="708491" rtl="0" eaLnBrk="1" fontAlgn="auto" latinLnBrk="0" hangingPunct="1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Ұ</a:t>
                      </a:r>
                      <a:r>
                        <a:rPr lang="ru-RU" sz="10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лытау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,2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3,3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,1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6718122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ызылордин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93,9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3,6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65,9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5938320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станай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1,8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05,9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28,7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1097591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marL="0" algn="l" defTabSz="708491" rtl="0" eaLnBrk="1" fontAlgn="auto" latinLnBrk="0" hangingPunct="1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нгистау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8,6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9,7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0,5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3929926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marL="0" algn="l" defTabSz="708491" rtl="0" eaLnBrk="1" fontAlgn="auto" latinLnBrk="0" hangingPunct="1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влодарская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9,6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8,2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1,1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6749735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веро-Казахстан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89,7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9,7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9,8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1104730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уркестанская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5,8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00,6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101,6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1428410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Шымкент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7,0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9,5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2,9  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742151"/>
                  </a:ext>
                </a:extLst>
              </a:tr>
              <a:tr h="164898">
                <a:tc gridSpan="4">
                  <a:txBody>
                    <a:bodyPr/>
                    <a:lstStyle/>
                    <a:p>
                      <a:pPr marL="0" marR="0" indent="0" algn="ctr" defTabSz="68739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юджетные изъятия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3408029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marL="0" marR="0" indent="0" algn="l" defTabSz="70849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</a:p>
                  </a:txBody>
                  <a:tcPr marL="5300" marR="5300" marT="53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7391" rtl="0" eaLnBrk="1" fontAlgn="auto" latinLnBrk="0" hangingPunct="1"/>
                      <a:r>
                        <a:rPr lang="en-US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8,1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7391" rtl="0" eaLnBrk="1" fontAlgn="auto" latinLnBrk="0" hangingPunct="1"/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84,4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7391" rtl="0" eaLnBrk="1" fontAlgn="auto" latinLnBrk="0" hangingPunct="1"/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2,6</a:t>
                      </a:r>
                      <a:endParaRPr lang="ru-RU" sz="10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8043345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тырауская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5,0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0,4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9,6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0961406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Алматы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1,5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4,7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2,7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0540005"/>
                  </a:ext>
                </a:extLst>
              </a:tr>
              <a:tr h="16489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000" b="0" i="0" u="none" strike="noStrike" kern="12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ур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Султан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1,6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9,3</a:t>
                      </a:r>
                      <a:endParaRPr lang="ru-RU" sz="10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0,2</a:t>
                      </a:r>
                      <a:r>
                        <a:rPr lang="ru-RU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651102"/>
                  </a:ext>
                </a:extLst>
              </a:tr>
            </a:tbl>
          </a:graphicData>
        </a:graphic>
      </p:graphicFrame>
      <p:sp>
        <p:nvSpPr>
          <p:cNvPr id="55" name="Прямоугольник 54"/>
          <p:cNvSpPr/>
          <p:nvPr/>
        </p:nvSpPr>
        <p:spPr>
          <a:xfrm>
            <a:off x="298605" y="1388972"/>
            <a:ext cx="55057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</a:rPr>
              <a:t>Н</a:t>
            </a:r>
            <a:r>
              <a:rPr lang="ru-RU" sz="1400" b="1" dirty="0" smtClean="0">
                <a:latin typeface="Arial" panose="020B0604020202020204" pitchFamily="34" charset="0"/>
              </a:rPr>
              <a:t>а </a:t>
            </a:r>
            <a:r>
              <a:rPr lang="ru-RU" sz="1400" b="1" dirty="0">
                <a:latin typeface="Arial" panose="020B0604020202020204" pitchFamily="34" charset="0"/>
              </a:rPr>
              <a:t>2023 год</a:t>
            </a:r>
            <a:endParaRPr lang="ru-RU" sz="1400" b="1" dirty="0"/>
          </a:p>
          <a:p>
            <a:pPr algn="ctr"/>
            <a:r>
              <a:rPr lang="ru-RU" sz="1400" dirty="0">
                <a:latin typeface="Arial" panose="020B0604020202020204" pitchFamily="34" charset="0"/>
              </a:rPr>
              <a:t>б</a:t>
            </a:r>
            <a:r>
              <a:rPr lang="ru-RU" sz="1400" dirty="0" smtClean="0">
                <a:latin typeface="Arial" panose="020B0604020202020204" pitchFamily="34" charset="0"/>
              </a:rPr>
              <a:t>юджетные </a:t>
            </a:r>
            <a:r>
              <a:rPr lang="ru-RU" sz="1400" b="1" dirty="0" smtClean="0">
                <a:solidFill>
                  <a:schemeClr val="accent5"/>
                </a:solidFill>
                <a:latin typeface="Arial" panose="020B0604020202020204" pitchFamily="34" charset="0"/>
              </a:rPr>
              <a:t>субвенции (4 937,5)</a:t>
            </a:r>
            <a:r>
              <a:rPr lang="ru-RU" sz="1400" dirty="0" smtClean="0">
                <a:latin typeface="Arial" panose="020B0604020202020204" pitchFamily="34" charset="0"/>
              </a:rPr>
              <a:t> и </a:t>
            </a:r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</a:rPr>
              <a:t>изъятия (438,1)</a:t>
            </a:r>
            <a:endParaRPr lang="ru-RU" sz="1400" dirty="0">
              <a:latin typeface="Arial" panose="020B0604020202020204" pitchFamily="34" charset="0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438388" y="720056"/>
            <a:ext cx="516392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</a:rPr>
              <a:t>17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400" dirty="0" err="1" smtClean="0">
                <a:latin typeface="Arial" panose="020B0604020202020204" pitchFamily="34" charset="0"/>
              </a:rPr>
              <a:t>субвенционных</a:t>
            </a:r>
            <a:r>
              <a:rPr lang="ru-RU" sz="1400" dirty="0" smtClean="0">
                <a:latin typeface="Arial" panose="020B0604020202020204" pitchFamily="34" charset="0"/>
              </a:rPr>
              <a:t> регионов</a:t>
            </a:r>
          </a:p>
          <a:p>
            <a:r>
              <a:rPr lang="ru-RU" sz="1600" b="1" dirty="0" smtClean="0">
                <a:latin typeface="Arial" panose="020B0604020202020204" pitchFamily="34" charset="0"/>
              </a:rPr>
              <a:t>3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</a:rPr>
              <a:t>региона-донора</a:t>
            </a: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</a:rPr>
              <a:t>(г. </a:t>
            </a:r>
            <a:r>
              <a:rPr lang="ru-RU" sz="1200" dirty="0" err="1">
                <a:latin typeface="Arial" panose="020B0604020202020204" pitchFamily="34" charset="0"/>
              </a:rPr>
              <a:t>Нур</a:t>
            </a:r>
            <a:r>
              <a:rPr lang="ru-RU" sz="1200" dirty="0">
                <a:latin typeface="Arial" panose="020B0604020202020204" pitchFamily="34" charset="0"/>
              </a:rPr>
              <a:t>-Султан, г. </a:t>
            </a:r>
            <a:r>
              <a:rPr lang="ru-RU" sz="1200" dirty="0" smtClean="0">
                <a:latin typeface="Arial" panose="020B0604020202020204" pitchFamily="34" charset="0"/>
              </a:rPr>
              <a:t>Алматы и </a:t>
            </a:r>
            <a:r>
              <a:rPr lang="ru-RU" sz="1200" dirty="0" err="1" smtClean="0">
                <a:latin typeface="Arial" panose="020B0604020202020204" pitchFamily="34" charset="0"/>
              </a:rPr>
              <a:t>Атырауская</a:t>
            </a:r>
            <a:r>
              <a:rPr lang="ru-RU" sz="1200" dirty="0" smtClean="0">
                <a:latin typeface="Arial" panose="020B0604020202020204" pitchFamily="34" charset="0"/>
              </a:rPr>
              <a:t> область)</a:t>
            </a:r>
            <a:endParaRPr lang="ru-RU" sz="1200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4769413" y="3170137"/>
            <a:ext cx="502061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229,9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713971" y="3986240"/>
            <a:ext cx="444352" cy="21544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ru-RU" sz="8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1</a:t>
            </a:r>
            <a:r>
              <a:rPr lang="en-US" sz="8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85</a:t>
            </a:r>
            <a:r>
              <a:rPr lang="ru-RU" sz="8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,</a:t>
            </a:r>
            <a:r>
              <a:rPr lang="en-US" sz="8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8</a:t>
            </a: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084178" y="3792862"/>
            <a:ext cx="502061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340</a:t>
            </a:r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,</a:t>
            </a: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9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96733" y="4203798"/>
            <a:ext cx="502061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211</a:t>
            </a:r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,</a:t>
            </a:r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5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2748020" y="3470680"/>
            <a:ext cx="431528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52,2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574291" y="3237712"/>
            <a:ext cx="502061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en-US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307,8</a:t>
            </a:r>
            <a:endParaRPr lang="ru-RU" sz="10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417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36" y="2062215"/>
            <a:ext cx="4066241" cy="2709811"/>
          </a:xfrm>
          <a:prstGeom prst="rect">
            <a:avLst/>
          </a:prstGeom>
        </p:spPr>
      </p:pic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A2345FB-3457-472F-A56F-E044CDF18088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385432" y="57955"/>
            <a:ext cx="8612526" cy="609955"/>
          </a:xfrm>
        </p:spPr>
        <p:txBody>
          <a:bodyPr anchor="ctr"/>
          <a:lstStyle/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ru-RU" sz="20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ируемые средства регионам из </a:t>
            </a:r>
            <a:r>
              <a:rPr lang="ru-RU" sz="2000" b="1" dirty="0" smtClean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нского бюджета</a:t>
            </a:r>
            <a:endParaRPr lang="ru-RU" sz="1000" b="1" i="1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4" name="Прямоугольник 193"/>
          <p:cNvSpPr/>
          <p:nvPr/>
        </p:nvSpPr>
        <p:spPr>
          <a:xfrm>
            <a:off x="480904" y="809013"/>
            <a:ext cx="8193017" cy="338554"/>
          </a:xfrm>
          <a:prstGeom prst="rect">
            <a:avLst/>
          </a:prstGeom>
          <a:pattFill prst="dkUpDiag">
            <a:fgClr>
              <a:srgbClr val="D5F2FC"/>
            </a:fgClr>
            <a:bgClr>
              <a:sysClr val="window" lastClr="FFFFFF"/>
            </a:bgClr>
          </a:pattFill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ctr" defTabSz="914436">
              <a:buClr>
                <a:srgbClr val="00B050"/>
              </a:buClr>
              <a:defRPr/>
            </a:pPr>
            <a:r>
              <a:rPr lang="ru-RU" sz="1600" b="1" kern="0" dirty="0">
                <a:latin typeface="Arial" panose="020B0604020202020204" pitchFamily="34" charset="0"/>
                <a:ea typeface="Tahoma" panose="020B0604030504040204" pitchFamily="34" charset="0"/>
              </a:rPr>
              <a:t>Целевые трансферты, </a:t>
            </a:r>
            <a:r>
              <a:rPr lang="ru-RU" sz="1600" b="1" kern="0" dirty="0" smtClean="0">
                <a:latin typeface="Arial" panose="020B0604020202020204" pitchFamily="34" charset="0"/>
                <a:ea typeface="Tahoma" panose="020B0604030504040204" pitchFamily="34" charset="0"/>
              </a:rPr>
              <a:t>кредиты регионам из РБ в трехлетнем периоде</a:t>
            </a:r>
          </a:p>
        </p:txBody>
      </p:sp>
      <p:graphicFrame>
        <p:nvGraphicFramePr>
          <p:cNvPr id="48" name="Таблица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2294683"/>
              </p:ext>
            </p:extLst>
          </p:nvPr>
        </p:nvGraphicFramePr>
        <p:xfrm>
          <a:off x="4864281" y="1364807"/>
          <a:ext cx="3809640" cy="2908356"/>
        </p:xfrm>
        <a:graphic>
          <a:graphicData uri="http://schemas.openxmlformats.org/drawingml/2006/table">
            <a:tbl>
              <a:tblPr/>
              <a:tblGrid>
                <a:gridCol w="1742907">
                  <a:extLst>
                    <a:ext uri="{9D8B030D-6E8A-4147-A177-3AD203B41FA5}">
                      <a16:colId xmlns:a16="http://schemas.microsoft.com/office/drawing/2014/main" val="1993702185"/>
                    </a:ext>
                  </a:extLst>
                </a:gridCol>
                <a:gridCol w="688861">
                  <a:extLst>
                    <a:ext uri="{9D8B030D-6E8A-4147-A177-3AD203B41FA5}">
                      <a16:colId xmlns:a16="http://schemas.microsoft.com/office/drawing/2014/main" val="2935938879"/>
                    </a:ext>
                  </a:extLst>
                </a:gridCol>
                <a:gridCol w="688861">
                  <a:extLst>
                    <a:ext uri="{9D8B030D-6E8A-4147-A177-3AD203B41FA5}">
                      <a16:colId xmlns:a16="http://schemas.microsoft.com/office/drawing/2014/main" val="2257744521"/>
                    </a:ext>
                  </a:extLst>
                </a:gridCol>
                <a:gridCol w="689011">
                  <a:extLst>
                    <a:ext uri="{9D8B030D-6E8A-4147-A177-3AD203B41FA5}">
                      <a16:colId xmlns:a16="http://schemas.microsoft.com/office/drawing/2014/main" val="3978925844"/>
                    </a:ext>
                  </a:extLst>
                </a:gridCol>
              </a:tblGrid>
              <a:tr h="68384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именование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687391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4 </a:t>
                      </a:r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5 </a:t>
                      </a:r>
                      <a:r>
                        <a:rPr lang="ru-RU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470168"/>
                  </a:ext>
                </a:extLst>
              </a:tr>
              <a:tr h="301638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: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048,1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501,4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 884,7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0570945"/>
                  </a:ext>
                </a:extLst>
              </a:tr>
              <a:tr h="447559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юджетные субвенции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 937,5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 181,0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r>
                        <a:rPr lang="ru-RU" sz="12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680,9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333121"/>
                  </a:ext>
                </a:extLst>
              </a:tr>
              <a:tr h="295062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его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110,6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20,5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03,8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995157"/>
                  </a:ext>
                </a:extLst>
              </a:tr>
              <a:tr h="295062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елевые трансферты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87,1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95,5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178,8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7631890"/>
                  </a:ext>
                </a:extLst>
              </a:tr>
              <a:tr h="295062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текущие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,8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4,3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3,0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0836091"/>
                  </a:ext>
                </a:extLst>
              </a:tr>
              <a:tr h="295062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   бюджет развития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81,3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231,2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000" b="0" i="1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05,8</a:t>
                      </a:r>
                      <a:endParaRPr lang="ru-RU" sz="1000" b="0" i="1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2320598"/>
                  </a:ext>
                </a:extLst>
              </a:tr>
              <a:tr h="295062">
                <a:tc>
                  <a:txBody>
                    <a:bodyPr/>
                    <a:lstStyle/>
                    <a:p>
                      <a:pPr algn="l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редиты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3,5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,0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,0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7433816"/>
                  </a:ext>
                </a:extLst>
              </a:tr>
            </a:tbl>
          </a:graphicData>
        </a:graphic>
      </p:graphicFrame>
      <p:sp>
        <p:nvSpPr>
          <p:cNvPr id="49" name="Прямоугольник 48"/>
          <p:cNvSpPr/>
          <p:nvPr/>
        </p:nvSpPr>
        <p:spPr>
          <a:xfrm>
            <a:off x="7943631" y="1183287"/>
            <a:ext cx="88604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 smtClean="0">
                <a:latin typeface="Arial" panose="020B0604020202020204" pitchFamily="34" charset="0"/>
              </a:rPr>
              <a:t>млрд. тенге</a:t>
            </a:r>
            <a:endParaRPr lang="ru-RU" sz="8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3605031" y="2550125"/>
            <a:ext cx="8860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</a:rPr>
              <a:t>т</a:t>
            </a:r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екущие</a:t>
            </a:r>
          </a:p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5,8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3605031" y="3329015"/>
            <a:ext cx="88604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>
                <a:solidFill>
                  <a:schemeClr val="bg1"/>
                </a:solidFill>
                <a:latin typeface="Arial" panose="020B0604020202020204" pitchFamily="34" charset="0"/>
              </a:rPr>
              <a:t>б</a:t>
            </a:r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юджет развития</a:t>
            </a:r>
          </a:p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1 081,3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1939953" y="3178968"/>
            <a:ext cx="9740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Целевые трансферты</a:t>
            </a:r>
          </a:p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1 087,1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719508" y="3178968"/>
            <a:ext cx="9740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Бюджетные субвенции</a:t>
            </a:r>
          </a:p>
          <a:p>
            <a:pPr algn="ctr"/>
            <a:r>
              <a:rPr lang="ru-RU" sz="1000" b="1" dirty="0" smtClean="0">
                <a:latin typeface="Arial" panose="020B0604020202020204" pitchFamily="34" charset="0"/>
              </a:rPr>
              <a:t>4 937,5</a:t>
            </a:r>
            <a:endParaRPr lang="ru-RU" sz="1000" b="1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1639237" y="2376995"/>
            <a:ext cx="8860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Кредиты</a:t>
            </a:r>
          </a:p>
          <a:p>
            <a:pPr algn="ctr"/>
            <a:r>
              <a:rPr lang="ru-RU" sz="10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23,5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331269" y="1361888"/>
            <a:ext cx="350197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Arial" panose="020B0604020202020204" pitchFamily="34" charset="0"/>
              </a:rPr>
              <a:t>Поступления в МБ из РБ на 2023 год</a:t>
            </a:r>
            <a:endParaRPr lang="ru-RU" sz="1400" b="1" dirty="0"/>
          </a:p>
        </p:txBody>
      </p:sp>
      <p:sp>
        <p:nvSpPr>
          <p:cNvPr id="57" name="Прямоугольник 56"/>
          <p:cNvSpPr/>
          <p:nvPr/>
        </p:nvSpPr>
        <p:spPr>
          <a:xfrm>
            <a:off x="845043" y="1638021"/>
            <a:ext cx="247442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6 048,1 </a:t>
            </a:r>
            <a:r>
              <a:rPr lang="ru-RU" sz="1400" b="1" dirty="0" smtClean="0">
                <a:solidFill>
                  <a:srgbClr val="00B050"/>
                </a:solidFill>
                <a:latin typeface="Arial" panose="020B0604020202020204" pitchFamily="34" charset="0"/>
              </a:rPr>
              <a:t>млрд. тенге</a:t>
            </a:r>
            <a:endParaRPr lang="ru-RU" sz="14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73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CXajWigEivciQK8zpj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A5kcs.kynlXyud0Up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telJod0Kattwu9afB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ZWtJB2H0KTPZ7c7bV78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rxT2CXb06zHkwfil38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0CXajWigEivciQK8zpj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wAi8tx0q1x.BryHAxz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phOPbCUWMY6vuNspO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VbEsaqvUGfi_m19Eqr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DJcYlSE.R3eLqapCMf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Q6.N9aUyOrhOlm0zV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zwAi8tx0q1x.BryHAxz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VAcgGbkurBp6z3Lifj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FvA4N00ylP2IFzrSNT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Ubd5YR50Om7ikT3Th6J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PA5kcs.kynlXyud0Up1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9telJod0Kattwu9afB2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ZWtJB2H0KTPZ7c7bV78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rxT2CXb06zHkwfil38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FphOPbCUWMY6vuNspO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VbEsaqvUGfi_m19Eqr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sDJcYlSE.R3eLqapCM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2Q6.N9aUyOrhOlm0zV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y1VAcgGbkurBp6z3Lif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sFvA4N00ylP2IFzrSN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Ubd5YR50Om7ikT3Th6JQ"/>
</p:tagLst>
</file>

<file path=ppt/theme/theme1.xml><?xml version="1.0" encoding="utf-8"?>
<a:theme xmlns:a="http://schemas.openxmlformats.org/drawingml/2006/main" name="Заседание Правительства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6935</TotalTime>
  <Words>1013</Words>
  <Application>Microsoft Office PowerPoint</Application>
  <PresentationFormat>Экран (16:9)</PresentationFormat>
  <Paragraphs>301</Paragraphs>
  <Slides>7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ＭＳ Ｐゴシック</vt:lpstr>
      <vt:lpstr>ＭＳ Ｐゴシック</vt:lpstr>
      <vt:lpstr>Arial</vt:lpstr>
      <vt:lpstr>Arial Narrow</vt:lpstr>
      <vt:lpstr>Calibri</vt:lpstr>
      <vt:lpstr>Calibri Light</vt:lpstr>
      <vt:lpstr>Lato Light</vt:lpstr>
      <vt:lpstr>Segoe UI Light</vt:lpstr>
      <vt:lpstr>Tahoma</vt:lpstr>
      <vt:lpstr>Заседание Правительств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Дастан Умирбаев</dc:creator>
  <cp:lastModifiedBy>Диас Султан</cp:lastModifiedBy>
  <cp:revision>10211</cp:revision>
  <cp:lastPrinted>2022-09-05T10:46:51Z</cp:lastPrinted>
  <dcterms:created xsi:type="dcterms:W3CDTF">2017-09-18T08:04:07Z</dcterms:created>
  <dcterms:modified xsi:type="dcterms:W3CDTF">2022-09-06T14:01:28Z</dcterms:modified>
</cp:coreProperties>
</file>